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7" r:id="rId2"/>
    <p:sldId id="259" r:id="rId3"/>
    <p:sldId id="260" r:id="rId4"/>
    <p:sldId id="262" r:id="rId5"/>
    <p:sldId id="261" r:id="rId6"/>
    <p:sldId id="263" r:id="rId7"/>
    <p:sldId id="264" r:id="rId8"/>
    <p:sldId id="266" r:id="rId9"/>
    <p:sldId id="267" r:id="rId10"/>
    <p:sldId id="265" r:id="rId11"/>
  </p:sldIdLst>
  <p:sldSz cx="12188825" cy="6858000"/>
  <p:notesSz cx="6858000" cy="9144000"/>
  <p:defaultTextStyle>
    <a:defPPr>
      <a:defRPr lang="en-US"/>
    </a:defPPr>
    <a:lvl1pPr marL="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40" userDrawn="1">
          <p15:clr>
            <a:srgbClr val="A4A3A4"/>
          </p15:clr>
        </p15:guide>
        <p15:guide id="2" pos="3958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89"/>
    <p:restoredTop sz="94720"/>
  </p:normalViewPr>
  <p:slideViewPr>
    <p:cSldViewPr snapToGrid="0" snapToObjects="1">
      <p:cViewPr varScale="1">
        <p:scale>
          <a:sx n="112" d="100"/>
          <a:sy n="112" d="100"/>
        </p:scale>
        <p:origin x="696" y="184"/>
      </p:cViewPr>
      <p:guideLst>
        <p:guide orient="horz" pos="1540"/>
        <p:guide pos="3958"/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71" d="100"/>
          <a:sy n="171" d="100"/>
        </p:scale>
        <p:origin x="5160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501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607394-BE12-F04D-9036-B505C9D7A7EE}" type="datetimeFigureOut">
              <a:rPr lang="en-US" smtClean="0"/>
              <a:t>4/18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468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5010" y="868468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22D74A-4911-A14F-B4BD-DF05621AB1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1432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501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241AA-1B63-40EF-824D-39533361BD84}" type="datetimeFigureOut">
              <a:rPr lang="en-US" smtClean="0"/>
              <a:t>4/18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468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5010" y="868468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25D07C-A66F-414D-A40C-1D7F6D6E9D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848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s://corewiki.cimpress.net/wiki/Cimpress_brand_resource_center#PowerPoint_template" TargetMode="External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ort &amp; Adjust 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88825" cy="6856213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60597" y="620543"/>
            <a:ext cx="5378330" cy="5616922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txBody>
          <a:bodyPr wrap="square" anchor="ctr">
            <a:spAutoFit/>
          </a:bodyPr>
          <a:lstStyle/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sz="2000" b="1" dirty="0">
                <a:solidFill>
                  <a:schemeClr val="bg1"/>
                </a:solidFill>
                <a:latin typeface="Calibri"/>
              </a:rPr>
              <a:t>To copy slides into this template from an existing presentation:</a:t>
            </a:r>
          </a:p>
          <a:p>
            <a:pPr marL="115888" lvl="1" indent="-115888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Calibri"/>
              </a:rPr>
              <a:t>Under the ‘</a:t>
            </a:r>
            <a:r>
              <a:rPr lang="en-US" sz="1600" b="1" dirty="0">
                <a:solidFill>
                  <a:schemeClr val="bg1"/>
                </a:solidFill>
                <a:latin typeface="Calibri"/>
              </a:rPr>
              <a:t>New Slide</a:t>
            </a:r>
            <a:r>
              <a:rPr lang="en-US" sz="1600" dirty="0">
                <a:solidFill>
                  <a:schemeClr val="bg1"/>
                </a:solidFill>
                <a:latin typeface="Calibri"/>
              </a:rPr>
              <a:t>’ button in home, choose the option to ‘Reuse Slides’</a:t>
            </a:r>
          </a:p>
          <a:p>
            <a:pPr marL="115888" lvl="1" indent="-115888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Calibri"/>
              </a:rPr>
              <a:t>Navigate to the </a:t>
            </a:r>
            <a:r>
              <a:rPr lang="en-US" sz="1600" dirty="0" err="1">
                <a:solidFill>
                  <a:schemeClr val="bg1"/>
                </a:solidFill>
                <a:latin typeface="Calibri"/>
              </a:rPr>
              <a:t>Powerpoint</a:t>
            </a:r>
            <a:r>
              <a:rPr lang="en-US" sz="1600" dirty="0">
                <a:solidFill>
                  <a:schemeClr val="bg1"/>
                </a:solidFill>
                <a:latin typeface="Calibri"/>
              </a:rPr>
              <a:t> deck you wish to select Slides from</a:t>
            </a:r>
          </a:p>
          <a:p>
            <a:pPr marL="115888" lvl="1" indent="-115888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Calibri"/>
              </a:rPr>
              <a:t>Click each of the slides you wish to import into this template</a:t>
            </a:r>
          </a:p>
          <a:p>
            <a:pPr marL="115888" lvl="1" indent="-115888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Calibri"/>
              </a:rPr>
              <a:t>The slides will inherit the style from this template</a:t>
            </a:r>
          </a:p>
          <a:p>
            <a:pPr marL="115888" lvl="1" indent="-115888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Calibri"/>
              </a:rPr>
              <a:t>With the imported slides still selected, click on the </a:t>
            </a:r>
            <a:r>
              <a:rPr lang="en-US" sz="1600" b="1" dirty="0">
                <a:solidFill>
                  <a:schemeClr val="bg1"/>
                </a:solidFill>
                <a:latin typeface="Calibri"/>
              </a:rPr>
              <a:t>Reset </a:t>
            </a:r>
            <a:r>
              <a:rPr lang="en-US" sz="1600" dirty="0">
                <a:solidFill>
                  <a:schemeClr val="bg1"/>
                </a:solidFill>
                <a:latin typeface="Calibri"/>
              </a:rPr>
              <a:t>icon under the </a:t>
            </a:r>
            <a:r>
              <a:rPr lang="en-US" sz="1600" b="1" dirty="0">
                <a:solidFill>
                  <a:schemeClr val="bg1"/>
                </a:solidFill>
                <a:latin typeface="Calibri"/>
              </a:rPr>
              <a:t>Home</a:t>
            </a:r>
            <a:r>
              <a:rPr lang="en-US" sz="1600" dirty="0">
                <a:solidFill>
                  <a:schemeClr val="bg1"/>
                </a:solidFill>
                <a:latin typeface="Calibri"/>
              </a:rPr>
              <a:t> tab. This will reset the position, size and  formatting of the text placeholders to their defaults.</a:t>
            </a:r>
          </a:p>
          <a:p>
            <a:pPr marL="115888" lvl="1" indent="-115888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Calibri"/>
              </a:rPr>
              <a:t>NOTE: If an imported slide did not automatically pick up the correct layout, click on the </a:t>
            </a:r>
            <a:r>
              <a:rPr lang="en-US" sz="1600" b="1" dirty="0">
                <a:solidFill>
                  <a:schemeClr val="bg1"/>
                </a:solidFill>
                <a:latin typeface="Calibri"/>
              </a:rPr>
              <a:t>Home</a:t>
            </a:r>
            <a:r>
              <a:rPr lang="en-US" sz="1600" dirty="0">
                <a:solidFill>
                  <a:schemeClr val="bg1"/>
                </a:solidFill>
                <a:latin typeface="Calibri"/>
              </a:rPr>
              <a:t> tab, then on the </a:t>
            </a:r>
            <a:r>
              <a:rPr lang="en-US" sz="1600" b="1" dirty="0">
                <a:solidFill>
                  <a:schemeClr val="bg1"/>
                </a:solidFill>
                <a:latin typeface="Calibri"/>
              </a:rPr>
              <a:t>Layout</a:t>
            </a:r>
            <a:r>
              <a:rPr lang="en-US" sz="1600" dirty="0">
                <a:solidFill>
                  <a:schemeClr val="bg1"/>
                </a:solidFill>
                <a:latin typeface="Calibri"/>
              </a:rPr>
              <a:t> icon. A drop-down window will appear. Click on the correct layout. </a:t>
            </a:r>
          </a:p>
          <a:p>
            <a:pPr marL="231775" lvl="2" indent="-115888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–"/>
            </a:pPr>
            <a:r>
              <a:rPr lang="en-US" sz="1600" dirty="0">
                <a:solidFill>
                  <a:schemeClr val="bg1"/>
                </a:solidFill>
                <a:latin typeface="Calibri"/>
              </a:rPr>
              <a:t>The layout name for the title slide is called “Title Slide”</a:t>
            </a:r>
          </a:p>
          <a:p>
            <a:pPr marL="231775" lvl="2" indent="-115888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–"/>
            </a:pPr>
            <a:r>
              <a:rPr lang="en-US" sz="1600" dirty="0">
                <a:solidFill>
                  <a:schemeClr val="bg1"/>
                </a:solidFill>
                <a:latin typeface="Calibri"/>
              </a:rPr>
              <a:t>The layout name for a typical text slide is called “Title and Content”</a:t>
            </a:r>
          </a:p>
          <a:p>
            <a:pPr marL="171450" lvl="1" indent="-17145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Calibri"/>
              </a:rPr>
              <a:t>If</a:t>
            </a:r>
            <a:r>
              <a:rPr lang="en-US" sz="1600" baseline="0" dirty="0">
                <a:solidFill>
                  <a:schemeClr val="bg1"/>
                </a:solidFill>
                <a:latin typeface="Calibri"/>
              </a:rPr>
              <a:t>, after bringing slides in from another deck, some slide numbers disappear, choose </a:t>
            </a:r>
            <a:r>
              <a:rPr lang="en-US" sz="1600" b="1" baseline="0" dirty="0">
                <a:solidFill>
                  <a:schemeClr val="bg1"/>
                </a:solidFill>
                <a:latin typeface="Calibri"/>
              </a:rPr>
              <a:t>Insert</a:t>
            </a:r>
            <a:r>
              <a:rPr lang="en-US" sz="1600" baseline="0" dirty="0">
                <a:solidFill>
                  <a:schemeClr val="bg1"/>
                </a:solidFill>
                <a:latin typeface="Calibri"/>
              </a:rPr>
              <a:t> &gt; </a:t>
            </a:r>
            <a:r>
              <a:rPr lang="en-US" sz="1600" b="1" baseline="0" dirty="0">
                <a:solidFill>
                  <a:schemeClr val="bg1"/>
                </a:solidFill>
                <a:latin typeface="Calibri"/>
              </a:rPr>
              <a:t>Slide Number &gt; Check Slide Number</a:t>
            </a:r>
            <a:r>
              <a:rPr lang="en-US" sz="1600" baseline="0" dirty="0">
                <a:solidFill>
                  <a:schemeClr val="bg1"/>
                </a:solidFill>
                <a:latin typeface="Calibri"/>
              </a:rPr>
              <a:t> &gt; </a:t>
            </a:r>
            <a:r>
              <a:rPr lang="en-US" sz="1600" b="1" baseline="0" dirty="0">
                <a:solidFill>
                  <a:schemeClr val="bg1"/>
                </a:solidFill>
                <a:latin typeface="Calibri"/>
              </a:rPr>
              <a:t>Apply to all </a:t>
            </a:r>
            <a:endParaRPr lang="en-US" sz="16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038739" y="1555765"/>
            <a:ext cx="3961331" cy="869469"/>
          </a:xfrm>
          <a:prstGeom prst="rect">
            <a:avLst/>
          </a:prstGeom>
          <a:solidFill>
            <a:schemeClr val="accent1"/>
          </a:solidFill>
          <a:ln w="57150">
            <a:noFill/>
          </a:ln>
        </p:spPr>
        <p:txBody>
          <a:bodyPr wrap="square" anchor="ctr">
            <a:spAutoFit/>
          </a:bodyPr>
          <a:lstStyle/>
          <a:p>
            <a:pPr lvl="0">
              <a:spcBef>
                <a:spcPts val="0"/>
              </a:spcBef>
              <a:spcAft>
                <a:spcPts val="267"/>
              </a:spcAft>
            </a:pPr>
            <a:r>
              <a:rPr lang="en-US" sz="2000" b="1" dirty="0">
                <a:solidFill>
                  <a:schemeClr val="bg1"/>
                </a:solidFill>
                <a:latin typeface="Calibri"/>
              </a:rPr>
              <a:t>How to change the layout of slides</a:t>
            </a:r>
          </a:p>
          <a:p>
            <a:pPr lvl="0">
              <a:spcBef>
                <a:spcPts val="0"/>
              </a:spcBef>
              <a:spcAft>
                <a:spcPts val="267"/>
              </a:spcAft>
            </a:pPr>
            <a:r>
              <a:rPr lang="en-US" sz="1400" dirty="0">
                <a:solidFill>
                  <a:schemeClr val="bg1"/>
                </a:solidFill>
                <a:latin typeface="Calibri"/>
              </a:rPr>
              <a:t>On the </a:t>
            </a:r>
            <a:r>
              <a:rPr lang="en-US" sz="1400" b="1" dirty="0">
                <a:solidFill>
                  <a:schemeClr val="bg1"/>
                </a:solidFill>
                <a:latin typeface="Calibri"/>
              </a:rPr>
              <a:t>home</a:t>
            </a:r>
            <a:r>
              <a:rPr lang="en-US" sz="1400" dirty="0">
                <a:solidFill>
                  <a:schemeClr val="bg1"/>
                </a:solidFill>
                <a:latin typeface="Calibri"/>
              </a:rPr>
              <a:t> tab, click </a:t>
            </a:r>
            <a:r>
              <a:rPr lang="en-US" sz="1400" b="1" dirty="0">
                <a:solidFill>
                  <a:schemeClr val="bg1"/>
                </a:solidFill>
                <a:latin typeface="Calibri"/>
              </a:rPr>
              <a:t>Layout</a:t>
            </a:r>
            <a:r>
              <a:rPr lang="en-US" sz="1400" dirty="0">
                <a:solidFill>
                  <a:schemeClr val="bg1"/>
                </a:solidFill>
                <a:latin typeface="Calibri"/>
              </a:rPr>
              <a:t> and then select the layout that best fits your slide content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016255" y="573895"/>
            <a:ext cx="39613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Version 1.5</a:t>
            </a:r>
          </a:p>
          <a:p>
            <a:r>
              <a:rPr lang="en-US" sz="1100" dirty="0">
                <a:solidFill>
                  <a:schemeClr val="bg1"/>
                </a:solidFill>
                <a:latin typeface="Arial"/>
                <a:cs typeface="Arial"/>
              </a:rPr>
              <a:t>Released 15 November 2016 | Latest version always </a:t>
            </a:r>
            <a:r>
              <a:rPr lang="en-US" sz="1100" dirty="0">
                <a:solidFill>
                  <a:schemeClr val="accent2"/>
                </a:solidFill>
                <a:latin typeface="Arial"/>
                <a:cs typeface="Arial"/>
                <a:hlinkClick r:id="rId3"/>
              </a:rPr>
              <a:t>HERE</a:t>
            </a:r>
            <a:endParaRPr lang="en-US" sz="11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38738" y="2425234"/>
            <a:ext cx="3938847" cy="283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7060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5pPr>
              <a:defRPr sz="2000"/>
            </a:lvl5pPr>
            <a:lvl6pPr>
              <a:buClr>
                <a:schemeClr val="accent1"/>
              </a:buClr>
              <a:defRPr sz="1866"/>
            </a:lvl6pPr>
            <a:lvl7pPr marL="3961409" indent="-304724">
              <a:buClr>
                <a:schemeClr val="accent1"/>
              </a:buClr>
              <a:buFont typeface="Lucida Grande"/>
              <a:buChar char="-"/>
              <a:defRPr sz="1733"/>
            </a:lvl7pPr>
            <a:lvl8pPr>
              <a:buClr>
                <a:schemeClr val="accent1"/>
              </a:buClr>
              <a:defRPr sz="1600" baseline="0"/>
            </a:lvl8pPr>
            <a:lvl9pPr marL="5104124" indent="-228543">
              <a:buClr>
                <a:schemeClr val="accent1"/>
              </a:buClr>
              <a:buFont typeface="Lucida Grande"/>
              <a:buChar char="-"/>
              <a:defRPr sz="1466"/>
            </a:lvl9pPr>
          </a:lstStyle>
          <a:p>
            <a:r>
              <a:rPr lang="en-GB" dirty="0"/>
              <a:t>Bullet Point Text</a:t>
            </a:r>
          </a:p>
          <a:p>
            <a:pPr lvl="1"/>
            <a:r>
              <a:rPr lang="en-GB" dirty="0"/>
              <a:t>Sub Bullet Point</a:t>
            </a:r>
          </a:p>
          <a:p>
            <a:pPr lvl="2"/>
            <a:r>
              <a:rPr lang="en-GB" dirty="0"/>
              <a:t>Sub Bullet Point</a:t>
            </a:r>
          </a:p>
          <a:p>
            <a:pPr lvl="3"/>
            <a:r>
              <a:rPr lang="en-GB" dirty="0"/>
              <a:t>Sub Bullet Point</a:t>
            </a:r>
          </a:p>
          <a:p>
            <a:pPr lvl="4"/>
            <a:r>
              <a:rPr lang="en-GB" dirty="0"/>
              <a:t>Sub Bullet Point</a:t>
            </a:r>
          </a:p>
          <a:p>
            <a:pPr lvl="5"/>
            <a:r>
              <a:rPr lang="en-GB" dirty="0"/>
              <a:t>Sub Bullet Point</a:t>
            </a:r>
          </a:p>
          <a:p>
            <a:pPr lvl="6"/>
            <a:r>
              <a:rPr lang="en-GB" dirty="0"/>
              <a:t>Sub Bullet Point</a:t>
            </a:r>
          </a:p>
          <a:p>
            <a:pPr lvl="7"/>
            <a:r>
              <a:rPr lang="en-GB" dirty="0"/>
              <a:t>Sub Bullet Point</a:t>
            </a:r>
          </a:p>
          <a:p>
            <a:pPr lvl="8"/>
            <a:r>
              <a:rPr lang="en-GB" dirty="0"/>
              <a:t>Sub Bullet Point</a:t>
            </a:r>
          </a:p>
          <a:p>
            <a:pPr marL="4875581" lvl="8" indent="0">
              <a:buNone/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7490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04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441" y="1469959"/>
            <a:ext cx="10969943" cy="465620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3199"/>
            </a:lvl1pPr>
            <a:lvl2pPr>
              <a:buClr>
                <a:schemeClr val="accent1"/>
              </a:buClr>
              <a:defRPr sz="2666"/>
            </a:lvl2pPr>
            <a:lvl3pPr>
              <a:buClr>
                <a:schemeClr val="accent1"/>
              </a:buClr>
              <a:defRPr sz="2399"/>
            </a:lvl3pPr>
            <a:lvl4pPr>
              <a:buClr>
                <a:schemeClr val="accent1"/>
              </a:buClr>
              <a:defRPr sz="2133"/>
            </a:lvl4pPr>
            <a:lvl5pPr>
              <a:buClr>
                <a:schemeClr val="accent1"/>
              </a:buClr>
              <a:defRPr sz="2133"/>
            </a:lvl5pPr>
            <a:lvl6pPr marL="3428143" indent="-380905">
              <a:buFont typeface="Arial"/>
              <a:buChar char="•"/>
              <a:defRPr/>
            </a:lvl6pPr>
          </a:lstStyle>
          <a:p>
            <a:r>
              <a:rPr lang="en-GB" dirty="0"/>
              <a:t>Bullet Point Text</a:t>
            </a:r>
          </a:p>
          <a:p>
            <a:pPr lvl="1"/>
            <a:r>
              <a:rPr lang="en-GB" dirty="0"/>
              <a:t>Sub Bullet Point</a:t>
            </a:r>
          </a:p>
          <a:p>
            <a:pPr lvl="2"/>
            <a:r>
              <a:rPr lang="en-GB" dirty="0"/>
              <a:t>Sub Bullet Point</a:t>
            </a:r>
          </a:p>
          <a:p>
            <a:pPr lvl="3"/>
            <a:r>
              <a:rPr lang="en-GB" dirty="0"/>
              <a:t>Sub Bullet Point</a:t>
            </a:r>
          </a:p>
          <a:p>
            <a:pPr lvl="4"/>
            <a:r>
              <a:rPr lang="en-GB" dirty="0"/>
              <a:t>Sub Bullet Point</a:t>
            </a:r>
          </a:p>
          <a:p>
            <a:pPr lvl="5"/>
            <a:r>
              <a:rPr lang="en-GB" dirty="0"/>
              <a:t>Sub Bullet Point</a:t>
            </a:r>
          </a:p>
          <a:p>
            <a:pPr lvl="6"/>
            <a:r>
              <a:rPr lang="en-GB" dirty="0"/>
              <a:t>Sub Bullet Point</a:t>
            </a:r>
          </a:p>
          <a:p>
            <a:pPr lvl="7"/>
            <a:r>
              <a:rPr lang="en-GB" dirty="0"/>
              <a:t>Sub Bullet Point</a:t>
            </a:r>
          </a:p>
          <a:p>
            <a:pPr lvl="8"/>
            <a:r>
              <a:rPr lang="en-GB" dirty="0"/>
              <a:t>Sub Bullet Point</a:t>
            </a:r>
          </a:p>
          <a:p>
            <a:pPr marL="4875581" lvl="8" indent="0">
              <a:buNone/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5108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9" userDrawn="1">
          <p15:clr>
            <a:srgbClr val="FBAE40"/>
          </p15:clr>
        </p15:guide>
        <p15:guide id="3" pos="725" userDrawn="1">
          <p15:clr>
            <a:srgbClr val="FBAE40"/>
          </p15:clr>
        </p15:guide>
        <p15:guide id="4" pos="7301" userDrawn="1">
          <p15:clr>
            <a:srgbClr val="FBAE40"/>
          </p15:clr>
        </p15:guide>
        <p15:guide id="5" orient="horz" pos="3865" userDrawn="1">
          <p15:clr>
            <a:srgbClr val="FBAE40"/>
          </p15:clr>
        </p15:guide>
        <p15:guide id="6" orient="horz" pos="7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05114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3" y="1397612"/>
            <a:ext cx="5383399" cy="4722016"/>
          </a:xfrm>
        </p:spPr>
        <p:txBody>
          <a:bodyPr>
            <a:normAutofit/>
          </a:bodyPr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 marL="3047238" indent="0">
              <a:buNone/>
              <a:defRPr sz="8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7" y="1397612"/>
            <a:ext cx="5383399" cy="4722016"/>
          </a:xfrm>
        </p:spPr>
        <p:txBody>
          <a:bodyPr>
            <a:normAutofit/>
          </a:bodyPr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79971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3" y="1397612"/>
            <a:ext cx="5383399" cy="4722016"/>
          </a:xfrm>
        </p:spPr>
        <p:txBody>
          <a:bodyPr>
            <a:normAutofit/>
          </a:bodyPr>
          <a:lstStyle>
            <a:lvl1pPr marL="457086" indent="-457086">
              <a:buFont typeface="Arial"/>
              <a:buChar char="•"/>
              <a:defRPr sz="3199" b="0">
                <a:solidFill>
                  <a:schemeClr val="tx2"/>
                </a:solidFill>
              </a:defRPr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7" y="1397612"/>
            <a:ext cx="5383399" cy="4722016"/>
          </a:xfrm>
        </p:spPr>
        <p:txBody>
          <a:bodyPr>
            <a:normAutofit/>
          </a:bodyPr>
          <a:lstStyle>
            <a:lvl1pPr marL="457086" indent="-457086">
              <a:buFont typeface="Arial"/>
              <a:buChar char="•"/>
              <a:defRPr sz="3199" b="0">
                <a:solidFill>
                  <a:schemeClr val="tx2"/>
                </a:solidFill>
              </a:defRPr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8552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3" y="1397612"/>
            <a:ext cx="5383399" cy="4722016"/>
          </a:xfrm>
        </p:spPr>
        <p:txBody>
          <a:bodyPr>
            <a:normAutofit/>
          </a:bodyPr>
          <a:lstStyle>
            <a:lvl1pPr marL="457086" indent="-457086">
              <a:buFont typeface="Arial"/>
              <a:buChar char="•"/>
              <a:defRPr sz="2666" b="1">
                <a:solidFill>
                  <a:schemeClr val="accent1"/>
                </a:solidFill>
              </a:defRPr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7" y="1397612"/>
            <a:ext cx="5383399" cy="4722016"/>
          </a:xfrm>
        </p:spPr>
        <p:txBody>
          <a:bodyPr>
            <a:normAutofit/>
          </a:bodyPr>
          <a:lstStyle>
            <a:lvl1pPr marL="457086" indent="-457086">
              <a:buFont typeface="Arial"/>
              <a:buChar char="•"/>
              <a:defRPr sz="2666" b="1">
                <a:solidFill>
                  <a:schemeClr val="accent1"/>
                </a:solidFill>
              </a:defRPr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 marL="3047238" indent="0">
              <a:buNone/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885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609443" y="1494479"/>
            <a:ext cx="3507673" cy="4707328"/>
          </a:xfrm>
        </p:spPr>
        <p:txBody>
          <a:bodyPr>
            <a:normAutofit/>
          </a:bodyPr>
          <a:lstStyle>
            <a:lvl1pPr marL="380905" indent="-380905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2133" b="1">
                <a:solidFill>
                  <a:srgbClr val="262626"/>
                </a:solidFill>
              </a:defRPr>
            </a:lvl1pPr>
            <a:lvl2pPr marL="359743" indent="-359743">
              <a:defRPr sz="1866"/>
            </a:lvl2pPr>
            <a:lvl3pPr marL="609341" indent="-298324">
              <a:buFont typeface="Arial" panose="020B0604020202020204" pitchFamily="34" charset="0"/>
              <a:buChar char="•"/>
              <a:defRPr sz="1600"/>
            </a:lvl3pPr>
            <a:lvl4pPr marL="920361" indent="-311018">
              <a:defRPr sz="1466"/>
            </a:lvl4pPr>
            <a:lvl5pPr marL="1299082" indent="-378724">
              <a:defRPr sz="1333"/>
            </a:lvl5pPr>
            <a:lvl6pPr>
              <a:buNone/>
              <a:defRPr/>
            </a:lvl6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4363695" y="1494161"/>
            <a:ext cx="3482598" cy="4702168"/>
          </a:xfrm>
        </p:spPr>
        <p:txBody>
          <a:bodyPr>
            <a:normAutofit/>
          </a:bodyPr>
          <a:lstStyle>
            <a:lvl1pPr marL="380905" indent="-380905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lang="en-US" sz="2133" b="1" kern="1200" dirty="0" smtClean="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359743" indent="-359743">
              <a:defRPr sz="1866"/>
            </a:lvl2pPr>
            <a:lvl3pPr marL="609341" indent="-298324">
              <a:defRPr sz="1600"/>
            </a:lvl3pPr>
            <a:lvl4pPr marL="920361" indent="-311018">
              <a:defRPr sz="1466"/>
            </a:lvl4pPr>
            <a:lvl5pPr marL="1218682" indent="-298324">
              <a:defRPr sz="1333"/>
            </a:lvl5pPr>
          </a:lstStyle>
          <a:p>
            <a:pPr marL="380905" lvl="0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Edit Master text styles</a:t>
            </a:r>
          </a:p>
          <a:p>
            <a:pPr marL="380905" lvl="1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Second level</a:t>
            </a:r>
          </a:p>
          <a:p>
            <a:pPr marL="380905" lvl="2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Third level</a:t>
            </a:r>
          </a:p>
          <a:p>
            <a:pPr marL="380905" lvl="3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Fourth level</a:t>
            </a:r>
          </a:p>
          <a:p>
            <a:pPr marL="380905" lvl="4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8092875" y="1495425"/>
            <a:ext cx="3486510" cy="4722813"/>
          </a:xfrm>
        </p:spPr>
        <p:txBody>
          <a:bodyPr>
            <a:normAutofit/>
          </a:bodyPr>
          <a:lstStyle>
            <a:lvl1pPr marL="380905" indent="-380905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lang="en-US" sz="2133" b="1" kern="1200" dirty="0" smtClean="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359743" indent="-359743">
              <a:defRPr sz="1866"/>
            </a:lvl2pPr>
            <a:lvl3pPr marL="609341" indent="-298324">
              <a:defRPr sz="1600"/>
            </a:lvl3pPr>
            <a:lvl4pPr marL="920361" indent="-311018">
              <a:defRPr sz="1466"/>
            </a:lvl4pPr>
            <a:lvl5pPr marL="1218682" indent="-298324">
              <a:defRPr sz="1333"/>
            </a:lvl5pPr>
          </a:lstStyle>
          <a:p>
            <a:pPr marL="380905" lvl="0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Edit Master text styles</a:t>
            </a:r>
          </a:p>
          <a:p>
            <a:pPr marL="380905" lvl="1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Second level</a:t>
            </a:r>
          </a:p>
          <a:p>
            <a:pPr marL="380905" lvl="2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Third level</a:t>
            </a:r>
          </a:p>
          <a:p>
            <a:pPr marL="380905" lvl="3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Fourth level</a:t>
            </a:r>
          </a:p>
          <a:p>
            <a:pPr marL="380905" lvl="4" indent="-380905" algn="l" defTabSz="609448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/>
              <a:buChar char="•"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204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9139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foot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8111" y="6356352"/>
            <a:ext cx="10421444" cy="365125"/>
          </a:xfrm>
        </p:spPr>
        <p:txBody>
          <a:bodyPr anchor="ctr" anchorCtr="0"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Footer text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AD19F-1849-EF4A-A766-A0D1ED8427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73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" y="6356352"/>
            <a:ext cx="12188825" cy="365125"/>
          </a:xfrm>
          <a:prstGeom prst="rect">
            <a:avLst/>
          </a:prstGeom>
          <a:solidFill>
            <a:srgbClr val="282C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16" name="Rectangle 15"/>
          <p:cNvSpPr/>
          <p:nvPr userDrawn="1"/>
        </p:nvSpPr>
        <p:spPr>
          <a:xfrm>
            <a:off x="10519555" y="6356351"/>
            <a:ext cx="1059829" cy="365125"/>
          </a:xfrm>
          <a:prstGeom prst="rect">
            <a:avLst/>
          </a:prstGeom>
          <a:solidFill>
            <a:srgbClr val="E73F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19555" y="6356351"/>
            <a:ext cx="105982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962835" y="3631120"/>
            <a:ext cx="10360501" cy="1362075"/>
          </a:xfrm>
        </p:spPr>
        <p:txBody>
          <a:bodyPr anchor="b">
            <a:normAutofit/>
          </a:bodyPr>
          <a:lstStyle>
            <a:lvl1pPr algn="l">
              <a:defRPr sz="5332" b="1" cap="all"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62835" y="4993195"/>
            <a:ext cx="10360501" cy="592573"/>
          </a:xfrm>
        </p:spPr>
        <p:txBody>
          <a:bodyPr anchor="t">
            <a:normAutofit/>
          </a:bodyPr>
          <a:lstStyle>
            <a:lvl1pPr marL="0" indent="0">
              <a:buNone/>
              <a:defRPr sz="2666">
                <a:solidFill>
                  <a:schemeClr val="accent2"/>
                </a:solidFill>
              </a:defRPr>
            </a:lvl1pPr>
            <a:lvl2pPr marL="60944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34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790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23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686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613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58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962835" y="5611863"/>
            <a:ext cx="10360501" cy="513723"/>
          </a:xfrm>
        </p:spPr>
        <p:txBody>
          <a:bodyPr anchor="t">
            <a:normAutofit/>
          </a:bodyPr>
          <a:lstStyle>
            <a:lvl1pPr marL="0" indent="0">
              <a:buNone/>
              <a:defRPr sz="1733">
                <a:solidFill>
                  <a:schemeClr val="accent2"/>
                </a:solidFill>
                <a:latin typeface="Calibri"/>
                <a:cs typeface="Calibri"/>
              </a:defRPr>
            </a:lvl1pPr>
            <a:lvl2pPr marL="660215" indent="0">
              <a:buNone/>
              <a:defRPr sz="2599">
                <a:solidFill>
                  <a:schemeClr val="tx1">
                    <a:tint val="75000"/>
                  </a:schemeClr>
                </a:solidFill>
              </a:defRPr>
            </a:lvl2pPr>
            <a:lvl3pPr marL="1320430" indent="0">
              <a:buNone/>
              <a:defRPr sz="2310">
                <a:solidFill>
                  <a:schemeClr val="tx1">
                    <a:tint val="75000"/>
                  </a:schemeClr>
                </a:solidFill>
              </a:defRPr>
            </a:lvl3pPr>
            <a:lvl4pPr marL="1980643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4pPr>
            <a:lvl5pPr marL="2640858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5pPr>
            <a:lvl6pPr marL="3301073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6pPr>
            <a:lvl7pPr marL="3961288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7pPr>
            <a:lvl8pPr marL="4621502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8pPr>
            <a:lvl9pPr marL="5281717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fld id="{9D66EF87-D89A-4B53-99E3-9E4B55CF7EF6}" type="datetime2">
              <a:rPr lang="en-US" smtClean="0"/>
              <a:t>Tuesday, November 15, 2016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74" y="6335521"/>
            <a:ext cx="1469610" cy="43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622380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8111" y="6356352"/>
            <a:ext cx="10421444" cy="365125"/>
          </a:xfrm>
        </p:spPr>
        <p:txBody>
          <a:bodyPr anchor="ctr" anchorCtr="0"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Footer text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AD19F-1849-EF4A-A766-A0D1ED8427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299295" y="325968"/>
            <a:ext cx="10280089" cy="585131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6693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9" userDrawn="1">
          <p15:clr>
            <a:srgbClr val="FBAE40"/>
          </p15:clr>
        </p15:guide>
        <p15:guide id="3" pos="816" userDrawn="1">
          <p15:clr>
            <a:srgbClr val="FBAE40"/>
          </p15:clr>
        </p15:guide>
        <p15:guide id="4" pos="729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oter tex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8111" y="6356352"/>
            <a:ext cx="10421444" cy="365125"/>
          </a:xfrm>
        </p:spPr>
        <p:txBody>
          <a:bodyPr anchor="ctr" anchorCtr="0"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Footer text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AD19F-1849-EF4A-A766-A0D1ED8427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1289985" y="325965"/>
            <a:ext cx="10289400" cy="5851315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15009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88825" cy="6858000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82944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56617" y="558802"/>
            <a:ext cx="8449952" cy="4121151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656619" y="4857751"/>
            <a:ext cx="8449952" cy="482600"/>
          </a:xfrm>
        </p:spPr>
        <p:txBody>
          <a:bodyPr>
            <a:normAutofit/>
          </a:bodyPr>
          <a:lstStyle>
            <a:lvl1pPr marL="0" indent="0">
              <a:buNone/>
              <a:defRPr sz="2399" b="1">
                <a:solidFill>
                  <a:srgbClr val="26262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656619" y="5365751"/>
            <a:ext cx="8449952" cy="990600"/>
          </a:xfrm>
        </p:spPr>
        <p:txBody>
          <a:bodyPr>
            <a:normAutofit/>
          </a:bodyPr>
          <a:lstStyle>
            <a:lvl1pPr marL="0" indent="0">
              <a:buNone/>
              <a:defRPr sz="186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10301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484592" y="2179825"/>
            <a:ext cx="5424028" cy="3703451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399" b="0" noProof="0" dirty="0" smtClean="0">
                <a:solidFill>
                  <a:schemeClr val="tx1"/>
                </a:solidFill>
              </a:defRPr>
            </a:lvl1pPr>
            <a:lvl2pPr>
              <a:defRPr lang="en-US" sz="2133" noProof="0" dirty="0" smtClean="0"/>
            </a:lvl2pPr>
            <a:lvl3pPr>
              <a:defRPr lang="en-US" sz="1866" noProof="0" dirty="0" smtClean="0"/>
            </a:lvl3pPr>
            <a:lvl4pPr>
              <a:defRPr lang="en-US" sz="1600" noProof="0" dirty="0" smtClean="0"/>
            </a:lvl4pPr>
            <a:lvl5pPr>
              <a:defRPr lang="en-US" sz="1466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6265313" y="2179825"/>
            <a:ext cx="5424028" cy="3703451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tabLst>
                <a:tab pos="243356" algn="l"/>
              </a:tabLst>
              <a:defRPr lang="en-US" sz="2399" b="0" dirty="0" smtClean="0">
                <a:solidFill>
                  <a:schemeClr val="tx1"/>
                </a:solidFill>
              </a:defRPr>
            </a:lvl1pPr>
            <a:lvl2pPr>
              <a:defRPr lang="en-US" sz="2133" dirty="0" smtClean="0"/>
            </a:lvl2pPr>
            <a:lvl3pPr>
              <a:defRPr lang="en-US" sz="1866" dirty="0" smtClean="0"/>
            </a:lvl3pPr>
            <a:lvl4pPr>
              <a:defRPr lang="en-US" sz="1466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2" y="1495425"/>
            <a:ext cx="5424028" cy="556635"/>
          </a:xfrm>
          <a:prstGeom prst="roundRect">
            <a:avLst/>
          </a:prstGeom>
          <a:solidFill>
            <a:schemeClr val="accent1"/>
          </a:solidFill>
        </p:spPr>
        <p:txBody>
          <a:bodyPr lIns="60949" tIns="60949" rIns="60949" bIns="60949" anchor="ctr">
            <a:normAutofit/>
          </a:bodyPr>
          <a:lstStyle>
            <a:lvl1pPr marL="6349" indent="0" algn="ctr">
              <a:buNone/>
              <a:defRPr sz="2399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6265313" y="1495425"/>
            <a:ext cx="5424028" cy="556635"/>
          </a:xfrm>
          <a:prstGeom prst="roundRect">
            <a:avLst/>
          </a:prstGeom>
          <a:solidFill>
            <a:schemeClr val="accent1"/>
          </a:solidFill>
        </p:spPr>
        <p:txBody>
          <a:bodyPr lIns="60949" tIns="60949" rIns="60949" bIns="60949" anchor="ctr">
            <a:normAutofit/>
          </a:bodyPr>
          <a:lstStyle>
            <a:lvl1pPr marL="0" indent="0" algn="ctr">
              <a:buNone/>
              <a:defRPr sz="2399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08177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480820"/>
            <a:ext cx="3516723" cy="658368"/>
          </a:xfrm>
          <a:prstGeom prst="roundRect">
            <a:avLst/>
          </a:prstGeom>
          <a:solidFill>
            <a:schemeClr val="accent1"/>
          </a:solidFill>
        </p:spPr>
        <p:txBody>
          <a:bodyPr lIns="60949" tIns="60949" rIns="60949" b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4342808" y="1480820"/>
            <a:ext cx="3516723" cy="658368"/>
          </a:xfrm>
          <a:prstGeom prst="roundRect">
            <a:avLst/>
          </a:prstGeom>
          <a:solidFill>
            <a:schemeClr val="accent1"/>
          </a:solidFill>
        </p:spPr>
        <p:txBody>
          <a:bodyPr lIns="60949" tIns="60949" rIns="60949" b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8196789" y="1480820"/>
            <a:ext cx="3516723" cy="658368"/>
          </a:xfrm>
          <a:prstGeom prst="roundRect">
            <a:avLst/>
          </a:prstGeom>
          <a:solidFill>
            <a:schemeClr val="accent1"/>
          </a:solidFill>
        </p:spPr>
        <p:txBody>
          <a:bodyPr lIns="60949" tIns="60949" rIns="60949" b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2"/>
          </p:nvPr>
        </p:nvSpPr>
        <p:spPr>
          <a:xfrm>
            <a:off x="484591" y="2256977"/>
            <a:ext cx="3497092" cy="3601787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defRPr lang="en-US" sz="2133" noProof="0" dirty="0" smtClean="0">
                <a:solidFill>
                  <a:schemeClr val="tx1"/>
                </a:solidFill>
              </a:defRPr>
            </a:lvl1pPr>
            <a:lvl2pPr marL="763926" indent="-302608">
              <a:defRPr lang="en-US" sz="1866" noProof="0" dirty="0" smtClean="0">
                <a:solidFill>
                  <a:schemeClr val="tx1"/>
                </a:solidFill>
              </a:defRPr>
            </a:lvl2pPr>
            <a:lvl3pPr marL="1371257" indent="-304724">
              <a:defRPr lang="en-US" sz="1600" noProof="0" dirty="0" smtClean="0">
                <a:solidFill>
                  <a:schemeClr val="tx1"/>
                </a:solidFill>
              </a:defRPr>
            </a:lvl3pPr>
            <a:lvl4pPr marL="1980705" indent="-304724">
              <a:defRPr lang="en-US" sz="1466" noProof="0" dirty="0" smtClean="0">
                <a:solidFill>
                  <a:schemeClr val="tx1"/>
                </a:solidFill>
              </a:defRPr>
            </a:lvl4pPr>
            <a:lvl5pPr marL="2590152" indent="-304724">
              <a:defRPr lang="en-US" sz="1333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Content Placeholder 11"/>
          <p:cNvSpPr>
            <a:spLocks noGrp="1"/>
          </p:cNvSpPr>
          <p:nvPr>
            <p:ph sz="quarter" idx="29"/>
          </p:nvPr>
        </p:nvSpPr>
        <p:spPr>
          <a:xfrm>
            <a:off x="4338572" y="2256977"/>
            <a:ext cx="3497092" cy="3601787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defRPr lang="en-US" sz="2133" noProof="0" dirty="0" smtClean="0">
                <a:solidFill>
                  <a:schemeClr val="tx1"/>
                </a:solidFill>
              </a:defRPr>
            </a:lvl1pPr>
            <a:lvl2pPr marL="763926" indent="-302608">
              <a:defRPr lang="en-US" sz="1866" noProof="0" dirty="0" smtClean="0">
                <a:solidFill>
                  <a:schemeClr val="tx1"/>
                </a:solidFill>
              </a:defRPr>
            </a:lvl2pPr>
            <a:lvl3pPr marL="1371257" indent="-304724">
              <a:defRPr lang="en-US" sz="1600" noProof="0" dirty="0" smtClean="0">
                <a:solidFill>
                  <a:schemeClr val="tx1"/>
                </a:solidFill>
              </a:defRPr>
            </a:lvl3pPr>
            <a:lvl4pPr marL="1980705" indent="-304724">
              <a:defRPr lang="en-US" sz="1466" noProof="0" dirty="0" smtClean="0">
                <a:solidFill>
                  <a:schemeClr val="tx1"/>
                </a:solidFill>
              </a:defRPr>
            </a:lvl4pPr>
            <a:lvl5pPr marL="2590152" indent="-304724">
              <a:defRPr lang="en-US" sz="1333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Content Placeholder 11"/>
          <p:cNvSpPr>
            <a:spLocks noGrp="1"/>
          </p:cNvSpPr>
          <p:nvPr>
            <p:ph sz="quarter" idx="30"/>
          </p:nvPr>
        </p:nvSpPr>
        <p:spPr>
          <a:xfrm>
            <a:off x="8192554" y="2256977"/>
            <a:ext cx="3497092" cy="3601787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defRPr lang="en-US" sz="2133" noProof="0" dirty="0" smtClean="0">
                <a:solidFill>
                  <a:schemeClr val="tx1"/>
                </a:solidFill>
              </a:defRPr>
            </a:lvl1pPr>
            <a:lvl2pPr marL="763926" indent="-302608">
              <a:defRPr lang="en-US" sz="1866" noProof="0" dirty="0" smtClean="0">
                <a:solidFill>
                  <a:schemeClr val="tx1"/>
                </a:solidFill>
              </a:defRPr>
            </a:lvl2pPr>
            <a:lvl3pPr marL="1371257" indent="-304724">
              <a:defRPr lang="en-US" sz="1600" noProof="0" dirty="0" smtClean="0">
                <a:solidFill>
                  <a:schemeClr val="tx1"/>
                </a:solidFill>
              </a:defRPr>
            </a:lvl3pPr>
            <a:lvl4pPr marL="1980705" indent="-304724">
              <a:defRPr lang="en-US" sz="1466" noProof="0" dirty="0" smtClean="0">
                <a:solidFill>
                  <a:schemeClr val="tx1"/>
                </a:solidFill>
              </a:defRPr>
            </a:lvl4pPr>
            <a:lvl5pPr marL="2590152" indent="-304724">
              <a:defRPr lang="en-US" sz="1333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79076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4593" y="1495425"/>
            <a:ext cx="2559653" cy="658368"/>
          </a:xfrm>
          <a:prstGeom prst="roundRect">
            <a:avLst/>
          </a:prstGeom>
          <a:solidFill>
            <a:schemeClr val="accent1"/>
          </a:solidFill>
        </p:spPr>
        <p:txBody>
          <a:bodyPr lIns="60949" r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366743" y="1495425"/>
            <a:ext cx="2559653" cy="658368"/>
          </a:xfrm>
          <a:prstGeom prst="roundRect">
            <a:avLst/>
          </a:prstGeom>
          <a:solidFill>
            <a:schemeClr val="accent1"/>
          </a:solidFill>
        </p:spPr>
        <p:txBody>
          <a:bodyPr lIns="60949" r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248894" y="1495425"/>
            <a:ext cx="2559653" cy="658368"/>
          </a:xfrm>
          <a:prstGeom prst="roundRect">
            <a:avLst/>
          </a:prstGeom>
          <a:solidFill>
            <a:schemeClr val="accent1"/>
          </a:solidFill>
        </p:spPr>
        <p:txBody>
          <a:bodyPr lIns="60949" r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9131039" y="1495425"/>
            <a:ext cx="2559653" cy="658368"/>
          </a:xfrm>
          <a:prstGeom prst="roundRect">
            <a:avLst/>
          </a:prstGeom>
          <a:solidFill>
            <a:schemeClr val="accent1"/>
          </a:solidFill>
        </p:spPr>
        <p:txBody>
          <a:bodyPr lIns="60949" r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Content Placeholder 11"/>
          <p:cNvSpPr>
            <a:spLocks noGrp="1"/>
          </p:cNvSpPr>
          <p:nvPr>
            <p:ph sz="quarter" idx="12"/>
          </p:nvPr>
        </p:nvSpPr>
        <p:spPr>
          <a:xfrm>
            <a:off x="484593" y="2261705"/>
            <a:ext cx="2559653" cy="3609995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tabLst>
                <a:tab pos="304724" algn="l"/>
              </a:tabLst>
              <a:defRPr lang="en-US" sz="1866" b="0" noProof="0" dirty="0" smtClean="0">
                <a:solidFill>
                  <a:schemeClr val="tx1"/>
                </a:solidFill>
              </a:defRPr>
            </a:lvl1pPr>
            <a:lvl2pPr marL="763926" indent="-304724">
              <a:defRPr lang="en-US" sz="1600" noProof="0" dirty="0" smtClean="0"/>
            </a:lvl2pPr>
            <a:lvl3pPr marL="1369142" indent="-304724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31"/>
          </p:nvPr>
        </p:nvSpPr>
        <p:spPr>
          <a:xfrm>
            <a:off x="3366743" y="2261705"/>
            <a:ext cx="2559653" cy="3609995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tabLst>
                <a:tab pos="304724" algn="l"/>
              </a:tabLst>
              <a:defRPr lang="en-US" sz="1866" b="0" noProof="0" dirty="0" smtClean="0">
                <a:solidFill>
                  <a:schemeClr val="tx1"/>
                </a:solidFill>
              </a:defRPr>
            </a:lvl1pPr>
            <a:lvl2pPr marL="763926" indent="-304724">
              <a:defRPr lang="en-US" sz="1600" noProof="0" dirty="0" smtClean="0"/>
            </a:lvl2pPr>
            <a:lvl3pPr marL="1369142" indent="-304724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32"/>
          </p:nvPr>
        </p:nvSpPr>
        <p:spPr>
          <a:xfrm>
            <a:off x="6289694" y="2261705"/>
            <a:ext cx="2559653" cy="3609995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tabLst>
                <a:tab pos="304724" algn="l"/>
              </a:tabLst>
              <a:defRPr lang="en-US" sz="1866" b="0" noProof="0" dirty="0" smtClean="0">
                <a:solidFill>
                  <a:schemeClr val="tx1"/>
                </a:solidFill>
              </a:defRPr>
            </a:lvl1pPr>
            <a:lvl2pPr marL="763926" indent="-304724">
              <a:defRPr lang="en-US" sz="1600" noProof="0" dirty="0" smtClean="0"/>
            </a:lvl2pPr>
            <a:lvl3pPr marL="1369142" indent="-304724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33"/>
          </p:nvPr>
        </p:nvSpPr>
        <p:spPr>
          <a:xfrm>
            <a:off x="9131039" y="2261705"/>
            <a:ext cx="2559653" cy="3609995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tabLst>
                <a:tab pos="304724" algn="l"/>
              </a:tabLst>
              <a:defRPr lang="en-US" sz="1866" b="0" noProof="0" dirty="0" smtClean="0">
                <a:solidFill>
                  <a:schemeClr val="tx1"/>
                </a:solidFill>
              </a:defRPr>
            </a:lvl1pPr>
            <a:lvl2pPr marL="763926" indent="-304724">
              <a:defRPr lang="en-US" sz="1600" noProof="0" dirty="0" smtClean="0"/>
            </a:lvl2pPr>
            <a:lvl3pPr marL="1369142" indent="-304724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814084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495425"/>
            <a:ext cx="8208839" cy="201168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b="0" noProof="0" dirty="0" smtClean="0">
                <a:solidFill>
                  <a:schemeClr val="tx1"/>
                </a:solidFill>
              </a:defRPr>
            </a:lvl1pPr>
            <a:lvl2pPr marL="721604" indent="-243356"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sz="1466" noProof="0" dirty="0" smtClean="0"/>
            </a:lvl4pPr>
            <a:lvl5pPr>
              <a:defRPr lang="en-US" sz="1333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495425"/>
            <a:ext cx="2802159" cy="2011680"/>
          </a:xfrm>
          <a:prstGeom prst="roundRect">
            <a:avLst/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3637945"/>
            <a:ext cx="2802159" cy="2011680"/>
          </a:xfrm>
          <a:prstGeom prst="roundRect">
            <a:avLst/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26"/>
          </p:nvPr>
        </p:nvSpPr>
        <p:spPr>
          <a:xfrm>
            <a:off x="3494131" y="3637945"/>
            <a:ext cx="8208839" cy="201168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b="0" noProof="0" dirty="0" smtClean="0">
                <a:solidFill>
                  <a:schemeClr val="tx1"/>
                </a:solidFill>
              </a:defRPr>
            </a:lvl1pPr>
            <a:lvl2pPr marL="721604" indent="-243356"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sz="1466" noProof="0" dirty="0" smtClean="0"/>
            </a:lvl4pPr>
            <a:lvl5pPr>
              <a:defRPr lang="en-US" sz="1333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568274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495425"/>
            <a:ext cx="8208839" cy="137160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 marL="721604" indent="-366092">
              <a:defRPr lang="en-US" sz="1600" noProof="0" dirty="0" smtClean="0"/>
            </a:lvl2pPr>
            <a:lvl3pPr marL="1077115" indent="-243356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  <a:lvl9pPr marL="4875581" indent="0">
              <a:buNone/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495425"/>
            <a:ext cx="2802159" cy="1371600"/>
          </a:xfrm>
          <a:prstGeom prst="roundRect">
            <a:avLst/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2996171"/>
            <a:ext cx="2802159" cy="1371600"/>
          </a:xfrm>
          <a:prstGeom prst="roundRect">
            <a:avLst/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488826" y="4496915"/>
            <a:ext cx="2802159" cy="1371600"/>
          </a:xfrm>
          <a:prstGeom prst="roundRect">
            <a:avLst/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8"/>
          </p:nvPr>
        </p:nvSpPr>
        <p:spPr>
          <a:xfrm>
            <a:off x="3494131" y="2996171"/>
            <a:ext cx="8208839" cy="137160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 marL="721604" indent="-366092">
              <a:defRPr lang="en-US" sz="1600" noProof="0" dirty="0" smtClean="0"/>
            </a:lvl2pPr>
            <a:lvl3pPr marL="1077115" indent="-243356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  <a:lvl9pPr marL="4875581" indent="0">
              <a:buNone/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9"/>
          </p:nvPr>
        </p:nvSpPr>
        <p:spPr>
          <a:xfrm>
            <a:off x="3494131" y="4496915"/>
            <a:ext cx="8208839" cy="137160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 marL="721604" indent="-366092">
              <a:defRPr lang="en-US" sz="1600" noProof="0" dirty="0" smtClean="0"/>
            </a:lvl2pPr>
            <a:lvl3pPr marL="1077115" indent="-243356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  <a:lvl9pPr marL="4875581" indent="0">
              <a:buNone/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087089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495426"/>
            <a:ext cx="8208839" cy="1137817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466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495426"/>
            <a:ext cx="2802159" cy="1137817"/>
          </a:xfrm>
          <a:prstGeom prst="roundRect">
            <a:avLst/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2694703"/>
            <a:ext cx="2802159" cy="1133539"/>
          </a:xfrm>
          <a:prstGeom prst="roundRect">
            <a:avLst/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488826" y="3889701"/>
            <a:ext cx="2802159" cy="1133539"/>
          </a:xfrm>
          <a:prstGeom prst="roundRect">
            <a:avLst/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488826" y="5084700"/>
            <a:ext cx="2802159" cy="1133539"/>
          </a:xfrm>
          <a:prstGeom prst="roundRect">
            <a:avLst/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30"/>
          </p:nvPr>
        </p:nvSpPr>
        <p:spPr>
          <a:xfrm>
            <a:off x="3494131" y="2690425"/>
            <a:ext cx="8208839" cy="1137817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466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Content Placeholder 11"/>
          <p:cNvSpPr>
            <a:spLocks noGrp="1"/>
          </p:cNvSpPr>
          <p:nvPr>
            <p:ph sz="quarter" idx="31"/>
          </p:nvPr>
        </p:nvSpPr>
        <p:spPr>
          <a:xfrm>
            <a:off x="3494131" y="3883824"/>
            <a:ext cx="8208839" cy="1137817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466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32"/>
          </p:nvPr>
        </p:nvSpPr>
        <p:spPr>
          <a:xfrm>
            <a:off x="3494131" y="5077222"/>
            <a:ext cx="8208839" cy="1137817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466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441455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88825" cy="6856213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62835" y="3631120"/>
            <a:ext cx="10360501" cy="1362075"/>
          </a:xfrm>
        </p:spPr>
        <p:txBody>
          <a:bodyPr anchor="b">
            <a:normAutofit/>
          </a:bodyPr>
          <a:lstStyle>
            <a:lvl1pPr algn="l">
              <a:defRPr sz="5332" b="1" cap="all"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62835" y="4993195"/>
            <a:ext cx="10360501" cy="592573"/>
          </a:xfrm>
        </p:spPr>
        <p:txBody>
          <a:bodyPr anchor="t">
            <a:normAutofit/>
          </a:bodyPr>
          <a:lstStyle>
            <a:lvl1pPr marL="0" indent="0">
              <a:buNone/>
              <a:defRPr sz="2666">
                <a:solidFill>
                  <a:schemeClr val="accent2"/>
                </a:solidFill>
              </a:defRPr>
            </a:lvl1pPr>
            <a:lvl2pPr marL="60944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34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790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23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686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613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58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" y="6356352"/>
            <a:ext cx="12188825" cy="365125"/>
          </a:xfrm>
          <a:prstGeom prst="rect">
            <a:avLst/>
          </a:prstGeom>
          <a:solidFill>
            <a:srgbClr val="282C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9" name="Rectangle 8"/>
          <p:cNvSpPr/>
          <p:nvPr userDrawn="1"/>
        </p:nvSpPr>
        <p:spPr>
          <a:xfrm>
            <a:off x="10519555" y="6356351"/>
            <a:ext cx="1059829" cy="365125"/>
          </a:xfrm>
          <a:prstGeom prst="rect">
            <a:avLst/>
          </a:prstGeom>
          <a:solidFill>
            <a:srgbClr val="E73F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19555" y="6356351"/>
            <a:ext cx="105982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74" y="6335521"/>
            <a:ext cx="1469610" cy="430748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962835" y="5611863"/>
            <a:ext cx="10360501" cy="513723"/>
          </a:xfrm>
        </p:spPr>
        <p:txBody>
          <a:bodyPr anchor="t">
            <a:normAutofit/>
          </a:bodyPr>
          <a:lstStyle>
            <a:lvl1pPr marL="0" indent="0">
              <a:buNone/>
              <a:defRPr sz="1733">
                <a:solidFill>
                  <a:schemeClr val="accent2"/>
                </a:solidFill>
                <a:latin typeface="Calibri"/>
                <a:cs typeface="Calibri"/>
              </a:defRPr>
            </a:lvl1pPr>
            <a:lvl2pPr marL="660215" indent="0">
              <a:buNone/>
              <a:defRPr sz="2599">
                <a:solidFill>
                  <a:schemeClr val="tx1">
                    <a:tint val="75000"/>
                  </a:schemeClr>
                </a:solidFill>
              </a:defRPr>
            </a:lvl2pPr>
            <a:lvl3pPr marL="1320430" indent="0">
              <a:buNone/>
              <a:defRPr sz="2310">
                <a:solidFill>
                  <a:schemeClr val="tx1">
                    <a:tint val="75000"/>
                  </a:schemeClr>
                </a:solidFill>
              </a:defRPr>
            </a:lvl3pPr>
            <a:lvl4pPr marL="1980643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4pPr>
            <a:lvl5pPr marL="2640858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5pPr>
            <a:lvl6pPr marL="3301073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6pPr>
            <a:lvl7pPr marL="3961288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7pPr>
            <a:lvl8pPr marL="4621502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8pPr>
            <a:lvl9pPr marL="5281717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fld id="{9D66EF87-D89A-4B53-99E3-9E4B55CF7EF6}" type="datetime2">
              <a:rPr lang="en-US" smtClean="0"/>
              <a:t>Tuesday, November 15,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2204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2171560"/>
            <a:ext cx="8208839" cy="173736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sz="1466" noProof="0" dirty="0" smtClean="0"/>
            </a:lvl4pPr>
            <a:lvl5pPr>
              <a:defRPr lang="en-US" sz="1333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2171560"/>
            <a:ext cx="2802159" cy="1737360"/>
          </a:xfrm>
          <a:prstGeom prst="homePlate">
            <a:avLst>
              <a:gd name="adj" fmla="val 24747"/>
            </a:avLst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4162627"/>
            <a:ext cx="2802159" cy="1737360"/>
          </a:xfrm>
          <a:prstGeom prst="homePlate">
            <a:avLst>
              <a:gd name="adj" fmla="val 25253"/>
            </a:avLst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26"/>
          </p:nvPr>
        </p:nvSpPr>
        <p:spPr>
          <a:xfrm>
            <a:off x="3494131" y="4162627"/>
            <a:ext cx="8208839" cy="173736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sz="1466" noProof="0" dirty="0" smtClean="0"/>
            </a:lvl4pPr>
            <a:lvl5pPr>
              <a:defRPr lang="en-US" sz="1333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944275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830388"/>
            <a:ext cx="8208839" cy="123444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830388"/>
            <a:ext cx="2802159" cy="1234440"/>
          </a:xfrm>
          <a:prstGeom prst="homePlate">
            <a:avLst>
              <a:gd name="adj" fmla="val 24747"/>
            </a:avLst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3407093"/>
            <a:ext cx="2802159" cy="1234440"/>
          </a:xfrm>
          <a:prstGeom prst="homePlate">
            <a:avLst>
              <a:gd name="adj" fmla="val 25253"/>
            </a:avLst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488826" y="4983799"/>
            <a:ext cx="2802159" cy="1234440"/>
          </a:xfrm>
          <a:prstGeom prst="homePlate">
            <a:avLst>
              <a:gd name="adj" fmla="val 25253"/>
            </a:avLst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8"/>
          </p:nvPr>
        </p:nvSpPr>
        <p:spPr>
          <a:xfrm>
            <a:off x="3494131" y="3403365"/>
            <a:ext cx="8208839" cy="123444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9"/>
          </p:nvPr>
        </p:nvSpPr>
        <p:spPr>
          <a:xfrm>
            <a:off x="3494131" y="4976343"/>
            <a:ext cx="8208839" cy="123444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634460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788992"/>
            <a:ext cx="8208839" cy="96012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133" b="0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800567"/>
            <a:ext cx="2802159" cy="960120"/>
          </a:xfrm>
          <a:prstGeom prst="homePlate">
            <a:avLst>
              <a:gd name="adj" fmla="val 24747"/>
            </a:avLst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2953084"/>
            <a:ext cx="2802159" cy="960120"/>
          </a:xfrm>
          <a:prstGeom prst="homePlate">
            <a:avLst>
              <a:gd name="adj" fmla="val 25253"/>
            </a:avLst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488826" y="4105603"/>
            <a:ext cx="2802159" cy="960120"/>
          </a:xfrm>
          <a:prstGeom prst="homePlate">
            <a:avLst>
              <a:gd name="adj" fmla="val 25253"/>
            </a:avLst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488826" y="5258119"/>
            <a:ext cx="2802159" cy="960120"/>
          </a:xfrm>
          <a:prstGeom prst="homePlate">
            <a:avLst>
              <a:gd name="adj" fmla="val 25253"/>
            </a:avLst>
          </a:prstGeom>
          <a:solidFill>
            <a:schemeClr val="accent1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30"/>
          </p:nvPr>
        </p:nvSpPr>
        <p:spPr>
          <a:xfrm>
            <a:off x="3494131" y="2957929"/>
            <a:ext cx="8208839" cy="96012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133" b="0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Content Placeholder 11"/>
          <p:cNvSpPr>
            <a:spLocks noGrp="1"/>
          </p:cNvSpPr>
          <p:nvPr>
            <p:ph sz="quarter" idx="31"/>
          </p:nvPr>
        </p:nvSpPr>
        <p:spPr>
          <a:xfrm>
            <a:off x="3494131" y="4105603"/>
            <a:ext cx="8208839" cy="96012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133" b="0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32"/>
          </p:nvPr>
        </p:nvSpPr>
        <p:spPr>
          <a:xfrm>
            <a:off x="3494131" y="5264279"/>
            <a:ext cx="8208839" cy="96012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133" b="0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438652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2" y="1495425"/>
            <a:ext cx="5424028" cy="556635"/>
          </a:xfrm>
          <a:prstGeom prst="roundRect">
            <a:avLst/>
          </a:prstGeom>
          <a:solidFill>
            <a:schemeClr val="accent3"/>
          </a:solidFill>
        </p:spPr>
        <p:txBody>
          <a:bodyPr lIns="60949" tIns="60949" rIns="60949" bIns="60949" anchor="ctr">
            <a:normAutofit/>
          </a:bodyPr>
          <a:lstStyle>
            <a:lvl1pPr marL="6349" indent="0" algn="ctr">
              <a:buNone/>
              <a:defRPr sz="2399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6265313" y="1495425"/>
            <a:ext cx="5424028" cy="556635"/>
          </a:xfrm>
          <a:prstGeom prst="roundRect">
            <a:avLst/>
          </a:prstGeom>
          <a:solidFill>
            <a:schemeClr val="accent3"/>
          </a:solidFill>
        </p:spPr>
        <p:txBody>
          <a:bodyPr lIns="60949" tIns="60949" rIns="60949" bIns="60949" anchor="ctr">
            <a:normAutofit/>
          </a:bodyPr>
          <a:lstStyle>
            <a:lvl1pPr marL="0" indent="0" algn="ctr">
              <a:buNone/>
              <a:defRPr sz="2399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2"/>
          </p:nvPr>
        </p:nvSpPr>
        <p:spPr>
          <a:xfrm>
            <a:off x="484592" y="2179825"/>
            <a:ext cx="5424028" cy="3703451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399" b="0" noProof="0" dirty="0" smtClean="0">
                <a:solidFill>
                  <a:schemeClr val="tx1"/>
                </a:solidFill>
              </a:defRPr>
            </a:lvl1pPr>
            <a:lvl2pPr>
              <a:defRPr lang="en-US" sz="2133" noProof="0" dirty="0" smtClean="0"/>
            </a:lvl2pPr>
            <a:lvl3pPr>
              <a:defRPr lang="en-US" sz="1866" noProof="0" dirty="0" smtClean="0"/>
            </a:lvl3pPr>
            <a:lvl4pPr>
              <a:defRPr lang="en-US" sz="1600" noProof="0" dirty="0" smtClean="0"/>
            </a:lvl4pPr>
            <a:lvl5pPr>
              <a:defRPr lang="en-US" sz="1466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16"/>
          </p:nvPr>
        </p:nvSpPr>
        <p:spPr>
          <a:xfrm>
            <a:off x="6265313" y="2179825"/>
            <a:ext cx="5424028" cy="3703451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tabLst>
                <a:tab pos="243356" algn="l"/>
              </a:tabLst>
              <a:defRPr lang="en-US" sz="2399" b="0" dirty="0" smtClean="0">
                <a:solidFill>
                  <a:schemeClr val="tx1"/>
                </a:solidFill>
              </a:defRPr>
            </a:lvl1pPr>
            <a:lvl2pPr>
              <a:defRPr lang="en-US" sz="2133" dirty="0" smtClean="0"/>
            </a:lvl2pPr>
            <a:lvl3pPr>
              <a:defRPr lang="en-US" sz="1866" dirty="0" smtClean="0"/>
            </a:lvl3pPr>
            <a:lvl4pPr>
              <a:defRPr lang="en-US" sz="1466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220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480820"/>
            <a:ext cx="3516723" cy="658368"/>
          </a:xfrm>
          <a:prstGeom prst="roundRect">
            <a:avLst/>
          </a:prstGeom>
          <a:solidFill>
            <a:schemeClr val="accent3"/>
          </a:solidFill>
        </p:spPr>
        <p:txBody>
          <a:bodyPr lIns="60949" tIns="60949" rIns="60949" b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4342808" y="1480820"/>
            <a:ext cx="3516723" cy="658368"/>
          </a:xfrm>
          <a:prstGeom prst="roundRect">
            <a:avLst/>
          </a:prstGeom>
          <a:solidFill>
            <a:schemeClr val="accent3"/>
          </a:solidFill>
        </p:spPr>
        <p:txBody>
          <a:bodyPr lIns="60949" tIns="60949" rIns="60949" b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8196789" y="1480820"/>
            <a:ext cx="3516723" cy="658368"/>
          </a:xfrm>
          <a:prstGeom prst="roundRect">
            <a:avLst/>
          </a:prstGeom>
          <a:solidFill>
            <a:schemeClr val="accent3"/>
          </a:solidFill>
        </p:spPr>
        <p:txBody>
          <a:bodyPr lIns="60949" tIns="60949" rIns="60949" b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2"/>
          </p:nvPr>
        </p:nvSpPr>
        <p:spPr>
          <a:xfrm>
            <a:off x="484591" y="2256977"/>
            <a:ext cx="3497092" cy="3601787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defRPr lang="en-US" sz="2133" noProof="0" dirty="0" smtClean="0">
                <a:solidFill>
                  <a:schemeClr val="tx1"/>
                </a:solidFill>
              </a:defRPr>
            </a:lvl1pPr>
            <a:lvl2pPr marL="763926" indent="-302608">
              <a:defRPr lang="en-US" sz="1866" noProof="0" dirty="0" smtClean="0">
                <a:solidFill>
                  <a:schemeClr val="tx1"/>
                </a:solidFill>
              </a:defRPr>
            </a:lvl2pPr>
            <a:lvl3pPr marL="1371257" indent="-304724">
              <a:defRPr lang="en-US" sz="1600" noProof="0" dirty="0" smtClean="0">
                <a:solidFill>
                  <a:schemeClr val="tx1"/>
                </a:solidFill>
              </a:defRPr>
            </a:lvl3pPr>
            <a:lvl4pPr marL="1980705" indent="-304724">
              <a:defRPr lang="en-US" sz="1466" noProof="0" dirty="0" smtClean="0">
                <a:solidFill>
                  <a:schemeClr val="tx1"/>
                </a:solidFill>
              </a:defRPr>
            </a:lvl4pPr>
            <a:lvl5pPr marL="2590152" indent="-304724">
              <a:defRPr lang="en-US" sz="1333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9"/>
          </p:nvPr>
        </p:nvSpPr>
        <p:spPr>
          <a:xfrm>
            <a:off x="4338572" y="2256977"/>
            <a:ext cx="3497092" cy="3601787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defRPr lang="en-US" sz="2133" noProof="0" dirty="0" smtClean="0">
                <a:solidFill>
                  <a:schemeClr val="tx1"/>
                </a:solidFill>
              </a:defRPr>
            </a:lvl1pPr>
            <a:lvl2pPr marL="763926" indent="-302608">
              <a:defRPr lang="en-US" sz="1866" noProof="0" dirty="0" smtClean="0">
                <a:solidFill>
                  <a:schemeClr val="tx1"/>
                </a:solidFill>
              </a:defRPr>
            </a:lvl2pPr>
            <a:lvl3pPr marL="1371257" indent="-304724">
              <a:defRPr lang="en-US" sz="1600" noProof="0" dirty="0" smtClean="0">
                <a:solidFill>
                  <a:schemeClr val="tx1"/>
                </a:solidFill>
              </a:defRPr>
            </a:lvl3pPr>
            <a:lvl4pPr marL="1980705" indent="-304724">
              <a:defRPr lang="en-US" sz="1466" noProof="0" dirty="0" smtClean="0">
                <a:solidFill>
                  <a:schemeClr val="tx1"/>
                </a:solidFill>
              </a:defRPr>
            </a:lvl4pPr>
            <a:lvl5pPr marL="2590152" indent="-304724">
              <a:defRPr lang="en-US" sz="1333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30"/>
          </p:nvPr>
        </p:nvSpPr>
        <p:spPr>
          <a:xfrm>
            <a:off x="8192554" y="2256977"/>
            <a:ext cx="3497092" cy="3601787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defRPr lang="en-US" sz="2133" noProof="0" dirty="0" smtClean="0">
                <a:solidFill>
                  <a:schemeClr val="tx1"/>
                </a:solidFill>
              </a:defRPr>
            </a:lvl1pPr>
            <a:lvl2pPr marL="763926" indent="-302608">
              <a:defRPr lang="en-US" sz="1866" noProof="0" dirty="0" smtClean="0">
                <a:solidFill>
                  <a:schemeClr val="tx1"/>
                </a:solidFill>
              </a:defRPr>
            </a:lvl2pPr>
            <a:lvl3pPr marL="1371257" indent="-304724">
              <a:defRPr lang="en-US" sz="1600" noProof="0" dirty="0" smtClean="0">
                <a:solidFill>
                  <a:schemeClr val="tx1"/>
                </a:solidFill>
              </a:defRPr>
            </a:lvl3pPr>
            <a:lvl4pPr marL="1980705" indent="-304724">
              <a:defRPr lang="en-US" sz="1466" noProof="0" dirty="0" smtClean="0">
                <a:solidFill>
                  <a:schemeClr val="tx1"/>
                </a:solidFill>
              </a:defRPr>
            </a:lvl4pPr>
            <a:lvl5pPr marL="2590152" indent="-304724">
              <a:defRPr lang="en-US" sz="1333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40411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4593" y="1495425"/>
            <a:ext cx="2559653" cy="658368"/>
          </a:xfrm>
          <a:prstGeom prst="roundRect">
            <a:avLst/>
          </a:prstGeom>
          <a:solidFill>
            <a:schemeClr val="accent3"/>
          </a:solidFill>
        </p:spPr>
        <p:txBody>
          <a:bodyPr lIns="60949" r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366743" y="1495425"/>
            <a:ext cx="2559653" cy="658368"/>
          </a:xfrm>
          <a:prstGeom prst="roundRect">
            <a:avLst/>
          </a:prstGeom>
          <a:solidFill>
            <a:schemeClr val="accent3"/>
          </a:solidFill>
        </p:spPr>
        <p:txBody>
          <a:bodyPr lIns="60949" r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248894" y="1495425"/>
            <a:ext cx="2559653" cy="658368"/>
          </a:xfrm>
          <a:prstGeom prst="roundRect">
            <a:avLst/>
          </a:prstGeom>
          <a:solidFill>
            <a:schemeClr val="accent3"/>
          </a:solidFill>
        </p:spPr>
        <p:txBody>
          <a:bodyPr lIns="60949" r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9131039" y="1495425"/>
            <a:ext cx="2559653" cy="658368"/>
          </a:xfrm>
          <a:prstGeom prst="roundRect">
            <a:avLst/>
          </a:prstGeom>
          <a:solidFill>
            <a:schemeClr val="accent3"/>
          </a:solidFill>
        </p:spPr>
        <p:txBody>
          <a:bodyPr lIns="60949" rIns="60949" anchor="ctr">
            <a:normAutofit/>
          </a:bodyPr>
          <a:lstStyle>
            <a:lvl1pPr marL="6349" indent="0" algn="ctr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12"/>
          </p:nvPr>
        </p:nvSpPr>
        <p:spPr>
          <a:xfrm>
            <a:off x="484593" y="2261705"/>
            <a:ext cx="2559653" cy="3609995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tabLst>
                <a:tab pos="304724" algn="l"/>
              </a:tabLst>
              <a:defRPr lang="en-US" sz="1866" b="0" noProof="0" dirty="0" smtClean="0">
                <a:solidFill>
                  <a:schemeClr val="tx1"/>
                </a:solidFill>
              </a:defRPr>
            </a:lvl1pPr>
            <a:lvl2pPr marL="763926" indent="-304724">
              <a:defRPr lang="en-US" sz="1600" noProof="0" dirty="0" smtClean="0"/>
            </a:lvl2pPr>
            <a:lvl3pPr marL="1369142" indent="-304724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1" name="Content Placeholder 11"/>
          <p:cNvSpPr>
            <a:spLocks noGrp="1"/>
          </p:cNvSpPr>
          <p:nvPr>
            <p:ph sz="quarter" idx="31"/>
          </p:nvPr>
        </p:nvSpPr>
        <p:spPr>
          <a:xfrm>
            <a:off x="3366743" y="2261705"/>
            <a:ext cx="2559653" cy="3609995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tabLst>
                <a:tab pos="304724" algn="l"/>
              </a:tabLst>
              <a:defRPr lang="en-US" sz="1866" b="0" noProof="0" dirty="0" smtClean="0">
                <a:solidFill>
                  <a:schemeClr val="tx1"/>
                </a:solidFill>
              </a:defRPr>
            </a:lvl1pPr>
            <a:lvl2pPr marL="763926" indent="-304724">
              <a:defRPr lang="en-US" sz="1600" noProof="0" dirty="0" smtClean="0"/>
            </a:lvl2pPr>
            <a:lvl3pPr marL="1369142" indent="-304724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2" name="Content Placeholder 11"/>
          <p:cNvSpPr>
            <a:spLocks noGrp="1"/>
          </p:cNvSpPr>
          <p:nvPr>
            <p:ph sz="quarter" idx="32"/>
          </p:nvPr>
        </p:nvSpPr>
        <p:spPr>
          <a:xfrm>
            <a:off x="6289694" y="2261705"/>
            <a:ext cx="2559653" cy="3609995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tabLst>
                <a:tab pos="304724" algn="l"/>
              </a:tabLst>
              <a:defRPr lang="en-US" sz="1866" b="0" noProof="0" dirty="0" smtClean="0">
                <a:solidFill>
                  <a:schemeClr val="tx1"/>
                </a:solidFill>
              </a:defRPr>
            </a:lvl1pPr>
            <a:lvl2pPr marL="763926" indent="-304724">
              <a:defRPr lang="en-US" sz="1600" noProof="0" dirty="0" smtClean="0"/>
            </a:lvl2pPr>
            <a:lvl3pPr marL="1369142" indent="-304724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3" name="Content Placeholder 11"/>
          <p:cNvSpPr>
            <a:spLocks noGrp="1"/>
          </p:cNvSpPr>
          <p:nvPr>
            <p:ph sz="quarter" idx="33"/>
          </p:nvPr>
        </p:nvSpPr>
        <p:spPr>
          <a:xfrm>
            <a:off x="9131039" y="2261705"/>
            <a:ext cx="2559653" cy="3609995"/>
          </a:xfrm>
        </p:spPr>
        <p:txBody>
          <a:bodyPr vert="horz" lIns="0" tIns="0" rIns="0" bIns="0" rtlCol="0">
            <a:normAutofit/>
          </a:bodyPr>
          <a:lstStyle>
            <a:lvl1pPr marL="304724" indent="-304724">
              <a:tabLst>
                <a:tab pos="304724" algn="l"/>
              </a:tabLst>
              <a:defRPr lang="en-US" sz="1866" b="0" noProof="0" dirty="0" smtClean="0">
                <a:solidFill>
                  <a:schemeClr val="tx1"/>
                </a:solidFill>
              </a:defRPr>
            </a:lvl1pPr>
            <a:lvl2pPr marL="763926" indent="-304724">
              <a:defRPr lang="en-US" sz="1600" noProof="0" dirty="0" smtClean="0"/>
            </a:lvl2pPr>
            <a:lvl3pPr marL="1369142" indent="-304724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989773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495425"/>
            <a:ext cx="2802159" cy="2011680"/>
          </a:xfrm>
          <a:prstGeom prst="roundRect">
            <a:avLst/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3637945"/>
            <a:ext cx="2802159" cy="2011680"/>
          </a:xfrm>
          <a:prstGeom prst="roundRect">
            <a:avLst/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495425"/>
            <a:ext cx="8208839" cy="201168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b="0" noProof="0" dirty="0" smtClean="0">
                <a:solidFill>
                  <a:schemeClr val="tx1"/>
                </a:solidFill>
              </a:defRPr>
            </a:lvl1pPr>
            <a:lvl2pPr marL="721604" indent="-243356"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sz="1466" noProof="0" dirty="0" smtClean="0"/>
            </a:lvl4pPr>
            <a:lvl5pPr>
              <a:defRPr lang="en-US" sz="1333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6"/>
          </p:nvPr>
        </p:nvSpPr>
        <p:spPr>
          <a:xfrm>
            <a:off x="3494131" y="3637945"/>
            <a:ext cx="8208839" cy="201168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b="0" noProof="0" dirty="0" smtClean="0">
                <a:solidFill>
                  <a:schemeClr val="tx1"/>
                </a:solidFill>
              </a:defRPr>
            </a:lvl1pPr>
            <a:lvl2pPr marL="721604" indent="-243356"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sz="1466" noProof="0" dirty="0" smtClean="0"/>
            </a:lvl4pPr>
            <a:lvl5pPr>
              <a:defRPr lang="en-US" sz="1333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58357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495425"/>
            <a:ext cx="2802159" cy="1371600"/>
          </a:xfrm>
          <a:prstGeom prst="roundRect">
            <a:avLst/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2996171"/>
            <a:ext cx="2802159" cy="1371600"/>
          </a:xfrm>
          <a:prstGeom prst="roundRect">
            <a:avLst/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488826" y="4496915"/>
            <a:ext cx="2802159" cy="1371600"/>
          </a:xfrm>
          <a:prstGeom prst="roundRect">
            <a:avLst/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495425"/>
            <a:ext cx="8208839" cy="137160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 marL="721604" indent="-366092">
              <a:defRPr lang="en-US" sz="1600" noProof="0" dirty="0" smtClean="0"/>
            </a:lvl2pPr>
            <a:lvl3pPr marL="1077115" indent="-243356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  <a:lvl9pPr marL="4875581" indent="0">
              <a:buNone/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8"/>
          </p:nvPr>
        </p:nvSpPr>
        <p:spPr>
          <a:xfrm>
            <a:off x="3494131" y="2996171"/>
            <a:ext cx="8208839" cy="137160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 marL="721604" indent="-366092">
              <a:defRPr lang="en-US" sz="1600" noProof="0" dirty="0" smtClean="0"/>
            </a:lvl2pPr>
            <a:lvl3pPr marL="1077115" indent="-243356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  <a:lvl9pPr marL="4875581" indent="0">
              <a:buNone/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29"/>
          </p:nvPr>
        </p:nvSpPr>
        <p:spPr>
          <a:xfrm>
            <a:off x="3494131" y="4496915"/>
            <a:ext cx="8208839" cy="137160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1866" b="0" noProof="0" dirty="0" smtClean="0">
                <a:solidFill>
                  <a:schemeClr val="tx1"/>
                </a:solidFill>
              </a:defRPr>
            </a:lvl1pPr>
            <a:lvl2pPr marL="721604" indent="-366092">
              <a:defRPr lang="en-US" sz="1600" noProof="0" dirty="0" smtClean="0"/>
            </a:lvl2pPr>
            <a:lvl3pPr marL="1077115" indent="-243356">
              <a:defRPr lang="en-US" sz="1466" noProof="0" dirty="0" smtClean="0"/>
            </a:lvl3pPr>
            <a:lvl4pPr>
              <a:defRPr lang="en-US" sz="1600" noProof="0" dirty="0" smtClean="0"/>
            </a:lvl4pPr>
            <a:lvl5pPr>
              <a:defRPr lang="en-US" sz="1600" noProof="0" dirty="0" smtClean="0"/>
            </a:lvl5pPr>
            <a:lvl9pPr marL="4875581" indent="0">
              <a:buNone/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708999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495426"/>
            <a:ext cx="8208839" cy="1137817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b="0" noProof="0" dirty="0" smtClean="0">
                <a:solidFill>
                  <a:schemeClr val="tx1"/>
                </a:solidFill>
              </a:defRPr>
            </a:lvl1pPr>
            <a:lvl2pPr>
              <a:defRPr lang="en-US" sz="1800" noProof="0" dirty="0" smtClean="0"/>
            </a:lvl2pPr>
            <a:lvl3pPr>
              <a:defRPr lang="en-US" sz="1800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3495398" y="2694703"/>
            <a:ext cx="8208839" cy="1133539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b="0" dirty="0" smtClean="0">
                <a:solidFill>
                  <a:schemeClr val="tx1"/>
                </a:solidFill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495426"/>
            <a:ext cx="2802159" cy="1137817"/>
          </a:xfrm>
          <a:prstGeom prst="roundRect">
            <a:avLst/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2694703"/>
            <a:ext cx="2802159" cy="1133539"/>
          </a:xfrm>
          <a:prstGeom prst="roundRect">
            <a:avLst/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3495398" y="3889701"/>
            <a:ext cx="8208839" cy="1133539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b="0" dirty="0" smtClean="0">
                <a:solidFill>
                  <a:schemeClr val="tx1"/>
                </a:solidFill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488826" y="3889701"/>
            <a:ext cx="2802159" cy="1133539"/>
          </a:xfrm>
          <a:prstGeom prst="roundRect">
            <a:avLst/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3495398" y="5084700"/>
            <a:ext cx="8208839" cy="1133539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b="0" dirty="0" smtClean="0">
                <a:solidFill>
                  <a:schemeClr val="tx1"/>
                </a:solidFill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488826" y="5084700"/>
            <a:ext cx="2802159" cy="1133539"/>
          </a:xfrm>
          <a:prstGeom prst="roundRect">
            <a:avLst/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40537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2171560"/>
            <a:ext cx="8208839" cy="173736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noProof="0" dirty="0" smtClean="0">
                <a:solidFill>
                  <a:schemeClr val="tx1"/>
                </a:solidFill>
              </a:defRPr>
            </a:lvl1pPr>
            <a:lvl2pPr>
              <a:defRPr lang="en-US" sz="1800" noProof="0" dirty="0" smtClean="0"/>
            </a:lvl2pPr>
            <a:lvl3pPr>
              <a:defRPr lang="en-US" sz="1800" noProof="0" dirty="0" smtClean="0"/>
            </a:lvl3pPr>
            <a:lvl4pPr>
              <a:defRPr lang="en-US" sz="1800" noProof="0" dirty="0" smtClean="0"/>
            </a:lvl4pPr>
            <a:lvl5pPr>
              <a:defRPr lang="en-US" sz="1800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3495398" y="4162627"/>
            <a:ext cx="8208839" cy="173736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dirty="0" smtClean="0">
                <a:solidFill>
                  <a:schemeClr val="tx1"/>
                </a:solidFill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2171560"/>
            <a:ext cx="2802159" cy="1737360"/>
          </a:xfrm>
          <a:prstGeom prst="homePlate">
            <a:avLst>
              <a:gd name="adj" fmla="val 24747"/>
            </a:avLst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4162627"/>
            <a:ext cx="2802159" cy="1737360"/>
          </a:xfrm>
          <a:prstGeom prst="homePlate">
            <a:avLst>
              <a:gd name="adj" fmla="val 25253"/>
            </a:avLst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15063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3" cy="6856213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3" y="6356352"/>
            <a:ext cx="12188825" cy="365125"/>
          </a:xfrm>
          <a:prstGeom prst="rect">
            <a:avLst/>
          </a:prstGeom>
          <a:solidFill>
            <a:srgbClr val="282C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17" name="Rectangle 16"/>
          <p:cNvSpPr/>
          <p:nvPr userDrawn="1"/>
        </p:nvSpPr>
        <p:spPr>
          <a:xfrm>
            <a:off x="10519555" y="6356351"/>
            <a:ext cx="1059829" cy="365125"/>
          </a:xfrm>
          <a:prstGeom prst="rect">
            <a:avLst/>
          </a:prstGeom>
          <a:solidFill>
            <a:srgbClr val="D53A2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19554" y="6356351"/>
            <a:ext cx="1059832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962835" y="6341618"/>
            <a:ext cx="2083276" cy="369332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any Confidential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62835" y="3631120"/>
            <a:ext cx="10360501" cy="1362075"/>
          </a:xfrm>
        </p:spPr>
        <p:txBody>
          <a:bodyPr anchor="b">
            <a:normAutofit/>
          </a:bodyPr>
          <a:lstStyle>
            <a:lvl1pPr algn="l">
              <a:defRPr sz="5332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962835" y="4993195"/>
            <a:ext cx="10360501" cy="586693"/>
          </a:xfrm>
        </p:spPr>
        <p:txBody>
          <a:bodyPr anchor="t">
            <a:normAutofit/>
          </a:bodyPr>
          <a:lstStyle>
            <a:lvl1pPr marL="0" indent="0">
              <a:buNone/>
              <a:defRPr sz="2666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  <a:lvl2pPr marL="60944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34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790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23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686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613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58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74" y="6335521"/>
            <a:ext cx="1469610" cy="430748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962835" y="5611863"/>
            <a:ext cx="10360501" cy="513723"/>
          </a:xfrm>
        </p:spPr>
        <p:txBody>
          <a:bodyPr anchor="t">
            <a:normAutofit/>
          </a:bodyPr>
          <a:lstStyle>
            <a:lvl1pPr marL="0" indent="0">
              <a:buNone/>
              <a:defRPr sz="1733">
                <a:solidFill>
                  <a:schemeClr val="bg1"/>
                </a:solidFill>
                <a:latin typeface="Calibri"/>
                <a:cs typeface="Calibri"/>
              </a:defRPr>
            </a:lvl1pPr>
            <a:lvl2pPr marL="660215" indent="0">
              <a:buNone/>
              <a:defRPr sz="2599">
                <a:solidFill>
                  <a:schemeClr val="tx1">
                    <a:tint val="75000"/>
                  </a:schemeClr>
                </a:solidFill>
              </a:defRPr>
            </a:lvl2pPr>
            <a:lvl3pPr marL="1320430" indent="0">
              <a:buNone/>
              <a:defRPr sz="2310">
                <a:solidFill>
                  <a:schemeClr val="tx1">
                    <a:tint val="75000"/>
                  </a:schemeClr>
                </a:solidFill>
              </a:defRPr>
            </a:lvl3pPr>
            <a:lvl4pPr marL="1980643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4pPr>
            <a:lvl5pPr marL="2640858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5pPr>
            <a:lvl6pPr marL="3301073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6pPr>
            <a:lvl7pPr marL="3961288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7pPr>
            <a:lvl8pPr marL="4621502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8pPr>
            <a:lvl9pPr marL="5281717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fld id="{9D66EF87-D89A-4B53-99E3-9E4B55CF7EF6}" type="datetime2">
              <a:rPr lang="en-US" smtClean="0"/>
              <a:t>Tuesday, November 15,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456974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830388"/>
            <a:ext cx="2802159" cy="1234440"/>
          </a:xfrm>
          <a:prstGeom prst="homePlate">
            <a:avLst>
              <a:gd name="adj" fmla="val 24747"/>
            </a:avLst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3407093"/>
            <a:ext cx="2802159" cy="1234440"/>
          </a:xfrm>
          <a:prstGeom prst="homePlate">
            <a:avLst>
              <a:gd name="adj" fmla="val 25253"/>
            </a:avLst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488826" y="4983799"/>
            <a:ext cx="2802159" cy="1234440"/>
          </a:xfrm>
          <a:prstGeom prst="homePlate">
            <a:avLst>
              <a:gd name="adj" fmla="val 25253"/>
            </a:avLst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399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830388"/>
            <a:ext cx="8208839" cy="123444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8"/>
          </p:nvPr>
        </p:nvSpPr>
        <p:spPr>
          <a:xfrm>
            <a:off x="3494131" y="3403365"/>
            <a:ext cx="8208839" cy="123444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29"/>
          </p:nvPr>
        </p:nvSpPr>
        <p:spPr>
          <a:xfrm>
            <a:off x="3494131" y="4976343"/>
            <a:ext cx="8208839" cy="1234440"/>
          </a:xfrm>
        </p:spPr>
        <p:txBody>
          <a:bodyPr vert="horz" lIns="0" tIns="0" rIns="0" bIns="0" rtlCol="0">
            <a:normAutofit/>
          </a:bodyPr>
          <a:lstStyle>
            <a:lvl1pPr marL="243356" indent="-243356">
              <a:defRPr lang="en-US" sz="2133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89540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488826" y="1800567"/>
            <a:ext cx="2802159" cy="960120"/>
          </a:xfrm>
          <a:prstGeom prst="homePlate">
            <a:avLst>
              <a:gd name="adj" fmla="val 24747"/>
            </a:avLst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6349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88826" y="2953084"/>
            <a:ext cx="2802159" cy="960120"/>
          </a:xfrm>
          <a:prstGeom prst="homePlate">
            <a:avLst>
              <a:gd name="adj" fmla="val 25253"/>
            </a:avLst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488826" y="4105603"/>
            <a:ext cx="2802159" cy="960120"/>
          </a:xfrm>
          <a:prstGeom prst="homePlate">
            <a:avLst>
              <a:gd name="adj" fmla="val 25253"/>
            </a:avLst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488826" y="5258119"/>
            <a:ext cx="2802159" cy="960120"/>
          </a:xfrm>
          <a:prstGeom prst="homePlate">
            <a:avLst>
              <a:gd name="adj" fmla="val 25253"/>
            </a:avLst>
          </a:prstGeom>
          <a:solidFill>
            <a:schemeClr val="accent3"/>
          </a:solidFill>
        </p:spPr>
        <p:txBody>
          <a:bodyPr lIns="121899" tIns="60949" rIns="121899" bIns="60949"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rmAutofit/>
          </a:bodyPr>
          <a:lstStyle>
            <a:lvl1pPr>
              <a:defRPr>
                <a:solidFill>
                  <a:srgbClr val="F0553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371" y="1004338"/>
            <a:ext cx="10421013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2"/>
          </p:nvPr>
        </p:nvSpPr>
        <p:spPr>
          <a:xfrm>
            <a:off x="3494131" y="1788992"/>
            <a:ext cx="8208839" cy="96012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133" b="0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Content Placeholder 11"/>
          <p:cNvSpPr>
            <a:spLocks noGrp="1"/>
          </p:cNvSpPr>
          <p:nvPr>
            <p:ph sz="quarter" idx="30"/>
          </p:nvPr>
        </p:nvSpPr>
        <p:spPr>
          <a:xfrm>
            <a:off x="3494131" y="2957929"/>
            <a:ext cx="8208839" cy="96012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133" b="0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31"/>
          </p:nvPr>
        </p:nvSpPr>
        <p:spPr>
          <a:xfrm>
            <a:off x="3494131" y="4105603"/>
            <a:ext cx="8208839" cy="96012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133" b="0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1" name="Content Placeholder 11"/>
          <p:cNvSpPr>
            <a:spLocks noGrp="1"/>
          </p:cNvSpPr>
          <p:nvPr>
            <p:ph sz="quarter" idx="32"/>
          </p:nvPr>
        </p:nvSpPr>
        <p:spPr>
          <a:xfrm>
            <a:off x="3494131" y="5264279"/>
            <a:ext cx="8208839" cy="96012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133" b="0" noProof="0" dirty="0" smtClean="0">
                <a:solidFill>
                  <a:schemeClr val="tx1"/>
                </a:solidFill>
              </a:defRPr>
            </a:lvl1pPr>
            <a:lvl2pPr>
              <a:defRPr lang="en-US" sz="1866" noProof="0" dirty="0" smtClean="0"/>
            </a:lvl2pPr>
            <a:lvl3pPr>
              <a:defRPr lang="en-US" sz="1600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608805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Persim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3" cy="685621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09441" y="1157770"/>
            <a:ext cx="10969943" cy="4968396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bg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bg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bg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bg1"/>
              </a:buClr>
              <a:defRPr>
                <a:solidFill>
                  <a:srgbClr val="FFFFFF"/>
                </a:solidFill>
              </a:defRPr>
            </a:lvl5pPr>
            <a:lvl6pPr>
              <a:buClrTx/>
              <a:defRPr>
                <a:solidFill>
                  <a:srgbClr val="FFFFFF"/>
                </a:solidFill>
              </a:defRPr>
            </a:lvl6pPr>
            <a:lvl7pPr>
              <a:buClrTx/>
              <a:defRPr>
                <a:solidFill>
                  <a:srgbClr val="FFFFFF"/>
                </a:solidFill>
              </a:defRPr>
            </a:lvl7pPr>
            <a:lvl8pPr>
              <a:buClrTx/>
              <a:defRPr>
                <a:solidFill>
                  <a:srgbClr val="FFFFFF"/>
                </a:solidFill>
              </a:defRPr>
            </a:lvl8pPr>
            <a:lvl9pPr>
              <a:buClrTx/>
              <a:defRPr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3" y="6356352"/>
            <a:ext cx="12188825" cy="365125"/>
          </a:xfrm>
          <a:prstGeom prst="rect">
            <a:avLst/>
          </a:prstGeom>
          <a:solidFill>
            <a:srgbClr val="D4D8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600">
                <a:solidFill>
                  <a:schemeClr val="accent2"/>
                </a:solidFill>
              </a:defRPr>
            </a:lvl1pPr>
          </a:lstStyle>
          <a:p>
            <a:fld id="{1FCAD19F-1849-EF4A-A766-A0D1ED8427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7108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Persimmon_No_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3" cy="685621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buClr>
                <a:schemeClr val="bg1"/>
              </a:buClr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09441" y="1157770"/>
            <a:ext cx="10969943" cy="4968396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bg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bg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bg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bg1"/>
              </a:buClr>
              <a:defRPr>
                <a:solidFill>
                  <a:srgbClr val="FFFFFF"/>
                </a:solidFill>
              </a:defRPr>
            </a:lvl5pPr>
            <a:lvl6pPr>
              <a:buClrTx/>
              <a:defRPr>
                <a:solidFill>
                  <a:srgbClr val="FFFFFF"/>
                </a:solidFill>
              </a:defRPr>
            </a:lvl6pPr>
            <a:lvl7pPr>
              <a:buClrTx/>
              <a:defRPr>
                <a:solidFill>
                  <a:srgbClr val="FFFFFF"/>
                </a:solidFill>
              </a:defRPr>
            </a:lvl7pPr>
            <a:lvl8pPr>
              <a:buClrTx/>
              <a:defRPr>
                <a:solidFill>
                  <a:srgbClr val="FFFFFF"/>
                </a:solidFill>
              </a:defRPr>
            </a:lvl8pPr>
            <a:lvl9pPr>
              <a:buClrTx/>
              <a:defRPr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1FCAD19F-1849-EF4A-A766-A0D1ED8427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741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b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3" cy="685621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buClr>
                <a:schemeClr val="bg1"/>
              </a:buClr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441" y="1157770"/>
            <a:ext cx="10969943" cy="4968396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" y="6356352"/>
            <a:ext cx="12188825" cy="365125"/>
          </a:xfrm>
          <a:prstGeom prst="rect">
            <a:avLst/>
          </a:prstGeom>
          <a:solidFill>
            <a:srgbClr val="D4D8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600">
                <a:solidFill>
                  <a:schemeClr val="accent2"/>
                </a:solidFill>
              </a:defRPr>
            </a:lvl1pPr>
          </a:lstStyle>
          <a:p>
            <a:fld id="{1FCAD19F-1849-EF4A-A766-A0D1ED8427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8679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balt_No_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3" cy="685621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>
              <a:buClr>
                <a:schemeClr val="bg1"/>
              </a:buClr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441" y="1157770"/>
            <a:ext cx="10969943" cy="4968396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600">
                <a:solidFill>
                  <a:srgbClr val="FFFFFF"/>
                </a:solidFill>
              </a:defRPr>
            </a:lvl1pPr>
          </a:lstStyle>
          <a:p>
            <a:fld id="{1FCAD19F-1849-EF4A-A766-A0D1ED8427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8300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1249545" y="1570271"/>
            <a:ext cx="9909421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1249545" y="2213667"/>
            <a:ext cx="9909421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1249545" y="2857063"/>
            <a:ext cx="9909421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1249545" y="3500459"/>
            <a:ext cx="9909421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1249545" y="4143855"/>
            <a:ext cx="9909421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1249545" y="4787251"/>
            <a:ext cx="9909421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1249545" y="5430644"/>
            <a:ext cx="9909421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618491" y="1570273"/>
            <a:ext cx="548641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48" rIns="182848" rtlCol="0" anchor="ctr">
            <a:noAutofit/>
          </a:bodyPr>
          <a:lstStyle>
            <a:lvl1pPr marL="0" indent="0" algn="ctr">
              <a:buFont typeface="Arial" panose="020B0604020202020204" pitchFamily="34" charset="0"/>
              <a:buChar char="​"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2126346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618491" y="2214463"/>
            <a:ext cx="548641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618491" y="2857833"/>
            <a:ext cx="548641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618491" y="3501431"/>
            <a:ext cx="548641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618491" y="4145033"/>
            <a:ext cx="548641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618491" y="4788633"/>
            <a:ext cx="548641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618491" y="5432235"/>
            <a:ext cx="548641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158371" y="119521"/>
            <a:ext cx="10421013" cy="817721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1167134" y="1004338"/>
            <a:ext cx="10412252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4211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ersim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88825" cy="68562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5108" y="1716382"/>
            <a:ext cx="10102237" cy="3425236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63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1295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ob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3" cy="6856213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055108" y="1716382"/>
            <a:ext cx="10102237" cy="3425236"/>
          </a:xfrm>
        </p:spPr>
        <p:txBody>
          <a:bodyPr vert="horz" wrap="square" lIns="91440" tIns="45720" rIns="91440" bIns="45720" rtlCol="0" anchor="ctr">
            <a:normAutofit/>
          </a:bodyPr>
          <a:lstStyle>
            <a:lvl1pPr>
              <a:defRPr lang="en-US" sz="6398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9263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88825" cy="685621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055108" y="1716382"/>
            <a:ext cx="10102237" cy="3425236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6398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657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Mark">
    <p:bg>
      <p:bgPr>
        <a:blipFill dpi="0" rotWithShape="1">
          <a:blip r:embed="rId2">
            <a:alphaModFix amt="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88825" cy="685621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673938" y="188329"/>
            <a:ext cx="7483405" cy="3425236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6398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58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88825" cy="68562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" y="6356352"/>
            <a:ext cx="12188825" cy="365125"/>
          </a:xfrm>
          <a:prstGeom prst="rect">
            <a:avLst/>
          </a:prstGeom>
          <a:solidFill>
            <a:srgbClr val="D4D8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57940" y="119519"/>
            <a:ext cx="10421444" cy="82536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57770"/>
            <a:ext cx="10969943" cy="4968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GB" dirty="0"/>
              <a:t>Bullet Point Text</a:t>
            </a:r>
          </a:p>
          <a:p>
            <a:pPr lvl="1"/>
            <a:r>
              <a:rPr lang="en-GB" dirty="0"/>
              <a:t>Sub Bullet Point</a:t>
            </a:r>
          </a:p>
          <a:p>
            <a:pPr lvl="2"/>
            <a:r>
              <a:rPr lang="en-GB" dirty="0"/>
              <a:t>Sub Bullet Point</a:t>
            </a:r>
          </a:p>
          <a:p>
            <a:pPr lvl="3"/>
            <a:r>
              <a:rPr lang="en-GB" dirty="0"/>
              <a:t>Sub Bullet Point</a:t>
            </a:r>
          </a:p>
          <a:p>
            <a:pPr lvl="4"/>
            <a:r>
              <a:rPr lang="en-GB" dirty="0"/>
              <a:t>Sub Bullet Point</a:t>
            </a:r>
          </a:p>
          <a:p>
            <a:pPr lvl="5"/>
            <a:r>
              <a:rPr lang="en-GB" dirty="0"/>
              <a:t>Sub Bullet Point</a:t>
            </a:r>
          </a:p>
          <a:p>
            <a:pPr lvl="6"/>
            <a:r>
              <a:rPr lang="en-GB" dirty="0"/>
              <a:t>Sub Bullet Point</a:t>
            </a:r>
          </a:p>
          <a:p>
            <a:pPr lvl="7"/>
            <a:r>
              <a:rPr lang="en-GB" dirty="0"/>
              <a:t>Sub Bullet Point</a:t>
            </a:r>
          </a:p>
          <a:p>
            <a:pPr lvl="8"/>
            <a:r>
              <a:rPr lang="en-GB" dirty="0"/>
              <a:t>Sub Bullet Point</a:t>
            </a:r>
          </a:p>
          <a:p>
            <a:pPr marL="4875581" lvl="8" indent="0">
              <a:buNone/>
            </a:pP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9555" y="6356351"/>
            <a:ext cx="10598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2"/>
                </a:solidFill>
              </a:defRPr>
            </a:lvl1pPr>
          </a:lstStyle>
          <a:p>
            <a:fld id="{1FCAD19F-1849-EF4A-A766-A0D1ED8427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63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651" r:id="rId2"/>
    <p:sldLayoutId id="2147483668" r:id="rId3"/>
    <p:sldLayoutId id="2147483694" r:id="rId4"/>
    <p:sldLayoutId id="2147483670" r:id="rId5"/>
    <p:sldLayoutId id="2147483649" r:id="rId6"/>
    <p:sldLayoutId id="2147483667" r:id="rId7"/>
    <p:sldLayoutId id="2147483662" r:id="rId8"/>
    <p:sldLayoutId id="2147483666" r:id="rId9"/>
    <p:sldLayoutId id="2147483701" r:id="rId10"/>
    <p:sldLayoutId id="2147483703" r:id="rId11"/>
    <p:sldLayoutId id="2147483650" r:id="rId12"/>
    <p:sldLayoutId id="2147483704" r:id="rId13"/>
    <p:sldLayoutId id="2147483705" r:id="rId14"/>
    <p:sldLayoutId id="2147483709" r:id="rId15"/>
    <p:sldLayoutId id="2147483708" r:id="rId16"/>
    <p:sldLayoutId id="2147483707" r:id="rId17"/>
    <p:sldLayoutId id="2147483655" r:id="rId18"/>
    <p:sldLayoutId id="2147483723" r:id="rId19"/>
    <p:sldLayoutId id="2147483724" r:id="rId20"/>
    <p:sldLayoutId id="2147483725" r:id="rId21"/>
    <p:sldLayoutId id="2147483721" r:id="rId22"/>
    <p:sldLayoutId id="2147483722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710" r:id="rId33"/>
    <p:sldLayoutId id="2147483711" r:id="rId34"/>
    <p:sldLayoutId id="2147483712" r:id="rId35"/>
    <p:sldLayoutId id="2147483713" r:id="rId36"/>
    <p:sldLayoutId id="2147483714" r:id="rId37"/>
    <p:sldLayoutId id="2147483715" r:id="rId38"/>
    <p:sldLayoutId id="2147483716" r:id="rId39"/>
    <p:sldLayoutId id="2147483717" r:id="rId40"/>
    <p:sldLayoutId id="2147483718" r:id="rId41"/>
    <p:sldLayoutId id="2147483719" r:id="rId42"/>
    <p:sldLayoutId id="2147483727" r:id="rId43"/>
    <p:sldLayoutId id="2147483720" r:id="rId44"/>
    <p:sldLayoutId id="2147483726" r:id="rId45"/>
  </p:sldLayoutIdLst>
  <p:hf hdr="0"/>
  <p:txStyles>
    <p:titleStyle>
      <a:lvl1pPr algn="l" defTabSz="609448" rtl="0" eaLnBrk="1" latinLnBrk="0" hangingPunct="1">
        <a:lnSpc>
          <a:spcPct val="70000"/>
        </a:lnSpc>
        <a:spcBef>
          <a:spcPct val="0"/>
        </a:spcBef>
        <a:buNone/>
        <a:defRPr sz="4799" kern="1200">
          <a:solidFill>
            <a:srgbClr val="F0553A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609448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3199" kern="1200">
          <a:solidFill>
            <a:srgbClr val="282C31"/>
          </a:solidFill>
          <a:latin typeface="+mn-lt"/>
          <a:ea typeface="+mn-ea"/>
          <a:cs typeface="+mn-cs"/>
        </a:defRPr>
      </a:lvl1pPr>
      <a:lvl2pPr marL="990352" indent="-380905" algn="l" defTabSz="609448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2666" kern="1200">
          <a:solidFill>
            <a:srgbClr val="282C31"/>
          </a:solidFill>
          <a:latin typeface="+mn-lt"/>
          <a:ea typeface="+mn-ea"/>
          <a:cs typeface="+mn-cs"/>
        </a:defRPr>
      </a:lvl2pPr>
      <a:lvl3pPr marL="1523619" indent="-304724" algn="l" defTabSz="609448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2399" kern="1200">
          <a:solidFill>
            <a:srgbClr val="282C31"/>
          </a:solidFill>
          <a:latin typeface="+mn-lt"/>
          <a:ea typeface="+mn-ea"/>
          <a:cs typeface="+mn-cs"/>
        </a:defRPr>
      </a:lvl3pPr>
      <a:lvl4pPr marL="2133067" indent="-304724" algn="l" defTabSz="609448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2133" kern="1200">
          <a:solidFill>
            <a:srgbClr val="282C31"/>
          </a:solidFill>
          <a:latin typeface="+mn-lt"/>
          <a:ea typeface="+mn-ea"/>
          <a:cs typeface="+mn-cs"/>
        </a:defRPr>
      </a:lvl4pPr>
      <a:lvl5pPr marL="2742514" indent="-304724" algn="l" defTabSz="609448" rtl="0" eaLnBrk="1" latinLnBrk="0" hangingPunct="1">
        <a:spcBef>
          <a:spcPct val="20000"/>
        </a:spcBef>
        <a:buClr>
          <a:schemeClr val="accent1"/>
        </a:buClr>
        <a:buFont typeface="Arial"/>
        <a:buChar char="»"/>
        <a:defRPr sz="2000" kern="1200">
          <a:solidFill>
            <a:srgbClr val="282C31"/>
          </a:solidFill>
          <a:latin typeface="+mn-lt"/>
          <a:ea typeface="+mn-ea"/>
          <a:cs typeface="+mn-cs"/>
        </a:defRPr>
      </a:lvl5pPr>
      <a:lvl6pPr marL="3351962" indent="-304724" algn="l" defTabSz="609448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609448" rtl="0" eaLnBrk="1" latinLnBrk="0" hangingPunct="1">
        <a:spcBef>
          <a:spcPct val="20000"/>
        </a:spcBef>
        <a:buClr>
          <a:schemeClr val="accent1"/>
        </a:buClr>
        <a:buFont typeface="Lucida Grande"/>
        <a:buChar char="-"/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609448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609448" rtl="0" eaLnBrk="1" latinLnBrk="0" hangingPunct="1">
        <a:spcBef>
          <a:spcPct val="20000"/>
        </a:spcBef>
        <a:buClr>
          <a:schemeClr val="accent1"/>
        </a:buClr>
        <a:buFont typeface="Lucida Grande"/>
        <a:buChar char="-"/>
        <a:defRPr sz="14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on a zero trust network compan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we do stuff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/>
              <a:t>BCN </a:t>
            </a:r>
            <a:r>
              <a:rPr lang="en-US" dirty="0" err="1"/>
              <a:t>CyberSecurity</a:t>
            </a:r>
            <a:r>
              <a:rPr lang="en-US" dirty="0"/>
              <a:t> Meetup - April 2018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5D5ED3A-A25A-D748-A66E-BA433EC925A5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2"/>
                </a:solidFill>
              </a:rPr>
              <a:t>Davide Barbato</a:t>
            </a:r>
          </a:p>
        </p:txBody>
      </p:sp>
    </p:spTree>
    <p:extLst>
      <p:ext uri="{BB962C8B-B14F-4D97-AF65-F5344CB8AC3E}">
        <p14:creationId xmlns:p14="http://schemas.microsoft.com/office/powerpoint/2010/main" val="10113850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25723E-2E7C-E24D-B84A-37892815D26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Squad Weekly Standu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308A5A-21DB-0F4A-90FE-BD31249AA8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Bi-weekly Tribe Standu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C7E13-1EAD-1447-93E4-3E9F36ECAB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Ad-hoc meeting for discussions (Slack + Zoom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39FA9D-E4E8-F243-AC74-FEDC0244F9E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Annual review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473B26-4F6B-1542-AEF6-ACF6EE2136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Monthly 1:1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FCEA6D-19A8-4049-B544-8FEBBB2DE3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10</a:t>
            </a:fld>
            <a:endParaRPr lang="en-US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5249C3E-E6E0-1E47-AFF7-1BF7DE6BCA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6F9D22E-D55E-D545-9C38-B79F2B38B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5CD1087-19C2-884A-BE87-E408A22E14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CC7BEA0-9794-1443-A4A2-481603A51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847AAA2-6D33-FD4D-B312-8CF7753352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01522E47-A1E8-1A42-9C40-389C0B0D9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TN – Team Manage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7815E9-8D28-6D48-BA2A-C6A346124DD9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vide Barbat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7AB96A3-C9B4-2C49-B472-8F5F83BF4E0B}"/>
              </a:ext>
            </a:extLst>
          </p:cNvPr>
          <p:cNvSpPr txBox="1"/>
          <p:nvPr/>
        </p:nvSpPr>
        <p:spPr>
          <a:xfrm>
            <a:off x="705099" y="1546471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63F5C2-74E0-974D-8018-337F113AC2FA}"/>
              </a:ext>
            </a:extLst>
          </p:cNvPr>
          <p:cNvSpPr txBox="1"/>
          <p:nvPr/>
        </p:nvSpPr>
        <p:spPr>
          <a:xfrm>
            <a:off x="711202" y="2192352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1380724-B7BB-6748-A0BA-AE9EAFED7402}"/>
              </a:ext>
            </a:extLst>
          </p:cNvPr>
          <p:cNvSpPr txBox="1"/>
          <p:nvPr/>
        </p:nvSpPr>
        <p:spPr>
          <a:xfrm>
            <a:off x="705099" y="2838233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C7260E-00CE-704E-90F3-D51B888538EF}"/>
              </a:ext>
            </a:extLst>
          </p:cNvPr>
          <p:cNvSpPr txBox="1"/>
          <p:nvPr/>
        </p:nvSpPr>
        <p:spPr>
          <a:xfrm>
            <a:off x="705099" y="3475711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C10B4E8-85FA-4141-9457-7F7E3E23C781}"/>
              </a:ext>
            </a:extLst>
          </p:cNvPr>
          <p:cNvSpPr txBox="1"/>
          <p:nvPr/>
        </p:nvSpPr>
        <p:spPr>
          <a:xfrm>
            <a:off x="705099" y="4120847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059351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No micro-network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No intrane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Everything exposed to the public Interne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No agents/checks on the endpoi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2</a:t>
            </a:fld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eroTrust</a:t>
            </a:r>
            <a:r>
              <a:rPr lang="en-US" dirty="0"/>
              <a:t> Network Model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 err="1"/>
              <a:t>BeyondCorp</a:t>
            </a:r>
            <a:r>
              <a:rPr lang="en-US" dirty="0"/>
              <a:t> approa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D2766F-D388-194B-BC58-F6194CBEFF29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vide Barbat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0C0BEF-9655-6742-9D75-5B5CFC2D050A}"/>
              </a:ext>
            </a:extLst>
          </p:cNvPr>
          <p:cNvSpPr txBox="1"/>
          <p:nvPr/>
        </p:nvSpPr>
        <p:spPr>
          <a:xfrm>
            <a:off x="705099" y="1546471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09D4BFA-4450-DD47-8203-CACA71A473D4}"/>
              </a:ext>
            </a:extLst>
          </p:cNvPr>
          <p:cNvSpPr txBox="1"/>
          <p:nvPr/>
        </p:nvSpPr>
        <p:spPr>
          <a:xfrm>
            <a:off x="708456" y="2195144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0B20C9-3E6C-9046-86EE-F6649C992C48}"/>
              </a:ext>
            </a:extLst>
          </p:cNvPr>
          <p:cNvSpPr txBox="1"/>
          <p:nvPr/>
        </p:nvSpPr>
        <p:spPr>
          <a:xfrm>
            <a:off x="705099" y="2834031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08FD58-C65A-F94C-A6CC-4A3C452FB5BB}"/>
              </a:ext>
            </a:extLst>
          </p:cNvPr>
          <p:cNvSpPr txBox="1"/>
          <p:nvPr/>
        </p:nvSpPr>
        <p:spPr>
          <a:xfrm>
            <a:off x="705099" y="3491216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997789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AC3D28D-D6E5-AA4D-A536-E7B23A9BA1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49545" y="2301791"/>
            <a:ext cx="9909421" cy="457200"/>
          </a:xfrm>
        </p:spPr>
        <p:txBody>
          <a:bodyPr/>
          <a:lstStyle/>
          <a:p>
            <a:r>
              <a:rPr lang="en-US" dirty="0"/>
              <a:t>All services MUST be over HTT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1D5EDB-8F0D-3149-B1A8-9E8D04122E6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249545" y="2945187"/>
            <a:ext cx="9909421" cy="457200"/>
          </a:xfrm>
        </p:spPr>
        <p:txBody>
          <a:bodyPr/>
          <a:lstStyle/>
          <a:p>
            <a:r>
              <a:rPr lang="en-US" dirty="0"/>
              <a:t>2-factor authentic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C61A83-0F1C-B942-9666-2A1B184315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249545" y="3588583"/>
            <a:ext cx="9909421" cy="457200"/>
          </a:xfrm>
        </p:spPr>
        <p:txBody>
          <a:bodyPr/>
          <a:lstStyle/>
          <a:p>
            <a:r>
              <a:rPr lang="en-US" dirty="0"/>
              <a:t>Single Sign-On (SSO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2949E5-971C-E940-8472-E4CE8CB62BE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49545" y="5252565"/>
            <a:ext cx="9917759" cy="457200"/>
          </a:xfrm>
        </p:spPr>
        <p:txBody>
          <a:bodyPr/>
          <a:lstStyle/>
          <a:p>
            <a:r>
              <a:rPr lang="en-US" dirty="0"/>
              <a:t>Grant accessibility from any device (laptop, desktop, smartphone, tablet, etc.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C206DE-94F7-9547-AAF7-AEEE0DC7C8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3</a:t>
            </a:fld>
            <a:endParaRPr lang="en-US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053FD1-2B8F-F14B-903D-D15E6D1E76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91" y="2301792"/>
            <a:ext cx="539879" cy="457199"/>
          </a:xfrm>
        </p:spPr>
        <p:txBody>
          <a:bodyPr/>
          <a:lstStyle/>
          <a:p>
            <a:pPr>
              <a:buNone/>
            </a:pP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F03E95-A71C-C740-99AE-2A7367F2F1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491" y="2945187"/>
            <a:ext cx="548641" cy="4556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2657617-1240-C64E-B432-5FA4CA49AF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8491" y="3589353"/>
            <a:ext cx="548641" cy="455612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7CC8FBC-C0EA-FE4D-8587-09D90895DC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8491" y="5253743"/>
            <a:ext cx="549103" cy="4556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2AF6E1A2-09E5-CD4F-A43A-9BD806A68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eroTrust</a:t>
            </a:r>
            <a:r>
              <a:rPr lang="en-US" dirty="0"/>
              <a:t> Network Mod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61B2A9C-D699-2B45-9455-0F7E5B520FF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Key factor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395FD540-D500-7541-A5E6-53B6388706D0}"/>
              </a:ext>
            </a:extLst>
          </p:cNvPr>
          <p:cNvSpPr txBox="1">
            <a:spLocks/>
          </p:cNvSpPr>
          <p:nvPr/>
        </p:nvSpPr>
        <p:spPr>
          <a:xfrm>
            <a:off x="1158370" y="4673681"/>
            <a:ext cx="10421013" cy="3261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2399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990352" indent="-380905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666" kern="1200">
                <a:solidFill>
                  <a:srgbClr val="282C31"/>
                </a:solidFill>
                <a:latin typeface="+mn-lt"/>
                <a:ea typeface="+mn-ea"/>
                <a:cs typeface="+mn-cs"/>
              </a:defRPr>
            </a:lvl2pPr>
            <a:lvl3pPr marL="1523619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2399" kern="1200">
                <a:solidFill>
                  <a:srgbClr val="282C31"/>
                </a:solidFill>
                <a:latin typeface="+mn-lt"/>
                <a:ea typeface="+mn-ea"/>
                <a:cs typeface="+mn-cs"/>
              </a:defRPr>
            </a:lvl3pPr>
            <a:lvl4pPr marL="2133067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133" kern="1200">
                <a:solidFill>
                  <a:srgbClr val="282C31"/>
                </a:solidFill>
                <a:latin typeface="+mn-lt"/>
                <a:ea typeface="+mn-ea"/>
                <a:cs typeface="+mn-cs"/>
              </a:defRPr>
            </a:lvl4pPr>
            <a:lvl5pPr marL="2742514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2000" kern="1200">
                <a:solidFill>
                  <a:srgbClr val="282C31"/>
                </a:solidFill>
                <a:latin typeface="+mn-lt"/>
                <a:ea typeface="+mn-ea"/>
                <a:cs typeface="+mn-cs"/>
              </a:defRPr>
            </a:lvl5pPr>
            <a:lvl6pPr marL="3351962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8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Lucida Grande"/>
              <a:buChar char="-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Lucida Grande"/>
              <a:buChar char="-"/>
              <a:defRPr sz="14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xtra features: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D0A611C7-B3CA-6F44-BDDC-CFDA746C7432}"/>
              </a:ext>
            </a:extLst>
          </p:cNvPr>
          <p:cNvSpPr txBox="1">
            <a:spLocks/>
          </p:cNvSpPr>
          <p:nvPr/>
        </p:nvSpPr>
        <p:spPr>
          <a:xfrm>
            <a:off x="1249545" y="1658395"/>
            <a:ext cx="9909421" cy="45720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vert="horz" lIns="0" tIns="182880" rIns="72000" bIns="182880" rtlCol="0" anchor="ctr">
            <a:noAutofit/>
          </a:bodyPr>
          <a:lstStyle>
            <a:lvl1pPr marL="457086" indent="-457086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lang="en-US" sz="1866" b="1" kern="1200" dirty="0" smtClean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990352" indent="-380905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66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523619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239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133067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133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2514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351962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86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Lucida Grande"/>
              <a:buChar char="-"/>
              <a:defRPr sz="1733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Lucida Grande"/>
              <a:buChar char="-"/>
              <a:defRPr sz="146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ll services MUST be always reachab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33AD80-B851-BE46-A076-944997B8EA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032" y="1658395"/>
            <a:ext cx="546100" cy="4572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5D18718-F6CB-F142-A64E-EB425330A267}"/>
              </a:ext>
            </a:extLst>
          </p:cNvPr>
          <p:cNvSpPr txBox="1"/>
          <p:nvPr/>
        </p:nvSpPr>
        <p:spPr>
          <a:xfrm>
            <a:off x="700718" y="1610023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3B8AC1-42EC-2C44-B964-4FB54ED92311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vide Barbat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DED6379-766D-0B4F-B03E-6C162A2E6201}"/>
              </a:ext>
            </a:extLst>
          </p:cNvPr>
          <p:cNvSpPr txBox="1"/>
          <p:nvPr/>
        </p:nvSpPr>
        <p:spPr>
          <a:xfrm>
            <a:off x="700718" y="2283040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C73B59E-3933-0048-BB94-344A161203E3}"/>
              </a:ext>
            </a:extLst>
          </p:cNvPr>
          <p:cNvSpPr txBox="1"/>
          <p:nvPr/>
        </p:nvSpPr>
        <p:spPr>
          <a:xfrm>
            <a:off x="700718" y="2921385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9F44C94-65C6-7F4D-A0C9-530C8F64E50F}"/>
              </a:ext>
            </a:extLst>
          </p:cNvPr>
          <p:cNvSpPr txBox="1"/>
          <p:nvPr/>
        </p:nvSpPr>
        <p:spPr>
          <a:xfrm>
            <a:off x="700718" y="3541750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F4F184-C569-D344-87A9-C684718ADCAD}"/>
              </a:ext>
            </a:extLst>
          </p:cNvPr>
          <p:cNvSpPr txBox="1"/>
          <p:nvPr/>
        </p:nvSpPr>
        <p:spPr>
          <a:xfrm>
            <a:off x="700718" y="5252565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486496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B1978DB-88E6-C741-BD34-33EFB777B5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49545" y="1901741"/>
            <a:ext cx="9909421" cy="457200"/>
          </a:xfrm>
        </p:spPr>
        <p:txBody>
          <a:bodyPr/>
          <a:lstStyle/>
          <a:p>
            <a:r>
              <a:rPr lang="en-US" dirty="0"/>
              <a:t>2-FA (mobile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CFAEB7-6C0F-7C4A-8DDB-54700F07B9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81065" y="2545137"/>
            <a:ext cx="9177901" cy="457200"/>
          </a:xfrm>
        </p:spPr>
        <p:txBody>
          <a:bodyPr/>
          <a:lstStyle/>
          <a:p>
            <a:r>
              <a:rPr lang="en-US" dirty="0"/>
              <a:t>Du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9832AA-477B-574E-9AFA-DF77EB0021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981065" y="3188533"/>
            <a:ext cx="9177901" cy="457200"/>
          </a:xfrm>
        </p:spPr>
        <p:txBody>
          <a:bodyPr/>
          <a:lstStyle/>
          <a:p>
            <a:r>
              <a:rPr lang="en-US" dirty="0"/>
              <a:t>Google Authenticato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07E60B-D485-9F49-906D-341D301AF8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981065" y="3831929"/>
            <a:ext cx="9177901" cy="457200"/>
          </a:xfrm>
        </p:spPr>
        <p:txBody>
          <a:bodyPr/>
          <a:lstStyle/>
          <a:p>
            <a:r>
              <a:rPr lang="en-US" dirty="0"/>
              <a:t>Microsoft Authenticator (O365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D50D57-9DBC-7C4A-BF63-81ED8662598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49545" y="4475325"/>
            <a:ext cx="9909421" cy="457200"/>
          </a:xfrm>
        </p:spPr>
        <p:txBody>
          <a:bodyPr/>
          <a:lstStyle/>
          <a:p>
            <a:r>
              <a:rPr lang="en-US" dirty="0"/>
              <a:t>SS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38A863-C253-8F45-ABF3-33CB9FDA207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981065" y="5117903"/>
            <a:ext cx="9177901" cy="457200"/>
          </a:xfrm>
        </p:spPr>
        <p:txBody>
          <a:bodyPr/>
          <a:lstStyle/>
          <a:p>
            <a:r>
              <a:rPr lang="en-US" dirty="0"/>
              <a:t>SAML (Auth0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5BFDC5-9BD0-6342-9456-9FCA272FF8C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981065" y="5761296"/>
            <a:ext cx="9177901" cy="457200"/>
          </a:xfrm>
        </p:spPr>
        <p:txBody>
          <a:bodyPr/>
          <a:lstStyle/>
          <a:p>
            <a:r>
              <a:rPr lang="en-US" dirty="0"/>
              <a:t>OAuth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0AA863-946B-E34C-A881-BB56F8FAF8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4</a:t>
            </a:fld>
            <a:endParaRPr lang="en-US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F5DB62C-A5C8-154A-B972-BEB658FA5E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50011" y="2545933"/>
            <a:ext cx="508141" cy="4556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BB0F58C-2307-CE42-B357-BBD66CDAEC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50011" y="3189303"/>
            <a:ext cx="508141" cy="4556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4AD7F6-6FE6-034A-BC7C-401DE4B34C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50011" y="3832901"/>
            <a:ext cx="508141" cy="455612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C8EFF38-57DD-3540-8339-188EFBCA5F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8491" y="4476503"/>
            <a:ext cx="548641" cy="455612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5CE3693-3600-304B-BCBD-298E1B09A4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50012" y="5119285"/>
            <a:ext cx="508140" cy="455612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89DA8B0-2F6D-7B42-A314-5B08478C4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50012" y="5762887"/>
            <a:ext cx="508140" cy="455612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9B95CA11-E863-A24D-8214-4E45E25424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TN – Authentic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9A9898-8F4A-3644-BBCF-E9D688EE6EA6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vide Barbato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B04511-6792-B647-B26C-B5A6602C48AB}"/>
              </a:ext>
            </a:extLst>
          </p:cNvPr>
          <p:cNvSpPr txBox="1">
            <a:spLocks/>
          </p:cNvSpPr>
          <p:nvPr/>
        </p:nvSpPr>
        <p:spPr>
          <a:xfrm>
            <a:off x="1249545" y="1258331"/>
            <a:ext cx="9909421" cy="45720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vert="horz" lIns="0" tIns="182880" rIns="72000" bIns="182880" rtlCol="0" anchor="ctr">
            <a:noAutofit/>
          </a:bodyPr>
          <a:lstStyle>
            <a:lvl1pPr marL="457086" indent="-457086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lang="en-US" sz="1866" b="1" kern="1200" dirty="0" smtClean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990352" indent="-380905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66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523619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239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133067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133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2514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351962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86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Lucida Grande"/>
              <a:buChar char="-"/>
              <a:defRPr sz="1733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Lucida Grande"/>
              <a:buChar char="-"/>
              <a:defRPr sz="146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DFS (Active Domain Federated Service)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754BBBF-27B4-6446-8F5B-E14390BC5D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032" y="1258331"/>
            <a:ext cx="546100" cy="4572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8B77E89-3777-784F-B912-1CB3ED2DB970}"/>
              </a:ext>
            </a:extLst>
          </p:cNvPr>
          <p:cNvSpPr txBox="1"/>
          <p:nvPr/>
        </p:nvSpPr>
        <p:spPr>
          <a:xfrm>
            <a:off x="700718" y="1209959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BC5BB1-D4D7-4B46-A9E2-6E81693B38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92" y="1901743"/>
            <a:ext cx="539880" cy="45561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E85343-CF2B-0844-AF32-8A7583711B00}"/>
              </a:ext>
            </a:extLst>
          </p:cNvPr>
          <p:cNvSpPr txBox="1"/>
          <p:nvPr/>
        </p:nvSpPr>
        <p:spPr>
          <a:xfrm>
            <a:off x="700718" y="1887343"/>
            <a:ext cx="375424" cy="4574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7A78C0-C71D-6A40-B04D-CDDDC29C5F0C}"/>
              </a:ext>
            </a:extLst>
          </p:cNvPr>
          <p:cNvSpPr txBox="1"/>
          <p:nvPr/>
        </p:nvSpPr>
        <p:spPr>
          <a:xfrm>
            <a:off x="1416369" y="2524813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5063B6D-D925-B446-800B-3BA1DE94EB7F}"/>
              </a:ext>
            </a:extLst>
          </p:cNvPr>
          <p:cNvSpPr txBox="1"/>
          <p:nvPr/>
        </p:nvSpPr>
        <p:spPr>
          <a:xfrm>
            <a:off x="1416369" y="3164323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877EE6-92B2-0C40-AA9B-462DFC810948}"/>
              </a:ext>
            </a:extLst>
          </p:cNvPr>
          <p:cNvSpPr txBox="1"/>
          <p:nvPr/>
        </p:nvSpPr>
        <p:spPr>
          <a:xfrm>
            <a:off x="1416369" y="3805159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DB0E053-56E9-4349-8BD5-3FE749061557}"/>
              </a:ext>
            </a:extLst>
          </p:cNvPr>
          <p:cNvSpPr txBox="1"/>
          <p:nvPr/>
        </p:nvSpPr>
        <p:spPr>
          <a:xfrm>
            <a:off x="700718" y="4452317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C05ED8-F19C-214D-AF95-FF7E223D58F9}"/>
              </a:ext>
            </a:extLst>
          </p:cNvPr>
          <p:cNvSpPr txBox="1"/>
          <p:nvPr/>
        </p:nvSpPr>
        <p:spPr>
          <a:xfrm>
            <a:off x="1416369" y="5096947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E5D6929-63DA-9342-817A-BD5840132FD4}"/>
              </a:ext>
            </a:extLst>
          </p:cNvPr>
          <p:cNvSpPr txBox="1"/>
          <p:nvPr/>
        </p:nvSpPr>
        <p:spPr>
          <a:xfrm>
            <a:off x="1418091" y="5748465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365237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9857456-FE4D-1344-85A9-D6E25D39C07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Slack/HipCha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D1417A-B8BC-DB4C-9B05-03773C28801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268732" y="2267484"/>
            <a:ext cx="9890234" cy="457200"/>
          </a:xfrm>
        </p:spPr>
        <p:txBody>
          <a:bodyPr/>
          <a:lstStyle/>
          <a:p>
            <a:r>
              <a:rPr lang="en-US" dirty="0"/>
              <a:t>Zoom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6F2B20-FE89-2A4E-BC84-6CEB04C7BB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5</a:t>
            </a:fld>
            <a:endParaRPr lang="en-US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C44F575-7F17-CE4F-AF41-7D8821611F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51FB272-4EFB-4A41-8B11-D768043A69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493" y="2268280"/>
            <a:ext cx="548639" cy="4556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76827ED-6C8C-E246-9C46-030D38BCC3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8492" y="2963702"/>
            <a:ext cx="539879" cy="455612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7BB3FAA5-8259-6A4C-B87E-E341CA5B4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TN – Communicati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A24A77-3ED3-D349-88A3-B0BC2A7A0CB8}"/>
              </a:ext>
            </a:extLst>
          </p:cNvPr>
          <p:cNvSpPr txBox="1">
            <a:spLocks/>
          </p:cNvSpPr>
          <p:nvPr/>
        </p:nvSpPr>
        <p:spPr>
          <a:xfrm>
            <a:off x="1268732" y="2955919"/>
            <a:ext cx="9890234" cy="457200"/>
          </a:xfrm>
          <a:prstGeom prst="round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vert="horz" lIns="0" tIns="182880" rIns="72000" bIns="182880" rtlCol="0" anchor="ctr">
            <a:noAutofit/>
          </a:bodyPr>
          <a:lstStyle>
            <a:lvl1pPr marL="457086" indent="-457086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lang="en-US" sz="1866" b="1" kern="1200" dirty="0" smtClean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990352" indent="-380905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66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523619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239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133067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2133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2514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351962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86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Lucida Grande"/>
              <a:buChar char="-"/>
              <a:defRPr sz="1733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609448" rtl="0" eaLnBrk="1" latinLnBrk="0" hangingPunct="1">
              <a:spcBef>
                <a:spcPct val="20000"/>
              </a:spcBef>
              <a:buClr>
                <a:schemeClr val="accent1"/>
              </a:buClr>
              <a:buFont typeface="Lucida Grande"/>
              <a:buChar char="-"/>
              <a:defRPr sz="146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E-mai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4E3EDC-7F10-6B47-8177-A7037D3402B9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vide Barbat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7FDB0F-CF46-8849-85B0-1C5A4A295481}"/>
              </a:ext>
            </a:extLst>
          </p:cNvPr>
          <p:cNvSpPr txBox="1"/>
          <p:nvPr/>
        </p:nvSpPr>
        <p:spPr>
          <a:xfrm>
            <a:off x="700719" y="1540695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3E57A0-64C4-7D42-B305-E514618DA9EA}"/>
              </a:ext>
            </a:extLst>
          </p:cNvPr>
          <p:cNvSpPr txBox="1"/>
          <p:nvPr/>
        </p:nvSpPr>
        <p:spPr>
          <a:xfrm>
            <a:off x="700719" y="2255177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E77A04-8DF2-F343-B683-F4E05BF821FD}"/>
              </a:ext>
            </a:extLst>
          </p:cNvPr>
          <p:cNvSpPr txBox="1"/>
          <p:nvPr/>
        </p:nvSpPr>
        <p:spPr>
          <a:xfrm>
            <a:off x="703850" y="2948262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43874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2830C60-2B9C-484E-A442-DECC31064DA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JIRA Clou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658B3-58BA-2847-AE13-82C431F6E81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 err="1"/>
              <a:t>ZenDesk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048C3D-3632-074D-A30A-64828B45C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6</a:t>
            </a:fld>
            <a:endParaRPr lang="en-US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7DDA014-80CD-DB46-8DB2-817C8C299C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7ABA996-1EFA-C543-B351-D9CE414DD6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51286303-6250-A647-91B4-52E6A094A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TN – Ticketing &amp; Work Managem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B41900-2630-F647-89A3-1234B103DDDD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vide Barbat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7EECF1-AF8E-1A4F-B306-12C83F8564CC}"/>
              </a:ext>
            </a:extLst>
          </p:cNvPr>
          <p:cNvSpPr txBox="1"/>
          <p:nvPr/>
        </p:nvSpPr>
        <p:spPr>
          <a:xfrm>
            <a:off x="705099" y="1546471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D34C0E-2F27-A247-A68C-4DDBBDFFB5C8}"/>
              </a:ext>
            </a:extLst>
          </p:cNvPr>
          <p:cNvSpPr txBox="1"/>
          <p:nvPr/>
        </p:nvSpPr>
        <p:spPr>
          <a:xfrm>
            <a:off x="705099" y="2192818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988590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32D026-F574-754D-8F1F-832DD79984F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Confluence Clou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E185D0-DD8A-014E-B9EF-D184678CEA2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 err="1"/>
              <a:t>ZenDesk</a:t>
            </a:r>
            <a:r>
              <a:rPr lang="en-US" dirty="0"/>
              <a:t> port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A5D19B-8494-D346-9B1A-816A6BB92A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7</a:t>
            </a:fld>
            <a:endParaRPr lang="en-US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A9F048-CB52-C44C-8929-D92D3FC3B2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8ABC9A-3318-0547-9C58-A09DC967F1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3D0F8D4D-387B-DB47-A1AD-B951B2F25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TN – Document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5B03CF-15B9-5D41-8492-87A4AD2A4483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vide Barbat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2DB8C8-B023-794B-A1EF-1C217AD6EBD9}"/>
              </a:ext>
            </a:extLst>
          </p:cNvPr>
          <p:cNvSpPr txBox="1"/>
          <p:nvPr/>
        </p:nvSpPr>
        <p:spPr>
          <a:xfrm>
            <a:off x="705099" y="1546471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449127-1014-1F45-B873-6343E927BF63}"/>
              </a:ext>
            </a:extLst>
          </p:cNvPr>
          <p:cNvSpPr txBox="1"/>
          <p:nvPr/>
        </p:nvSpPr>
        <p:spPr>
          <a:xfrm>
            <a:off x="711202" y="2193089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408442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25723E-2E7C-E24D-B84A-37892815D26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Jenki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308A5A-21DB-0F4A-90FE-BD31249AA8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Gitlab (privat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C7E13-1EAD-1447-93E4-3E9F36ECAB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 err="1"/>
              <a:t>Github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FCEA6D-19A8-4049-B544-8FEBBB2DE3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8</a:t>
            </a:fld>
            <a:endParaRPr lang="en-US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5249C3E-E6E0-1E47-AFF7-1BF7DE6BCA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6F9D22E-D55E-D545-9C38-B79F2B38B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5CD1087-19C2-884A-BE87-E408A22E14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01522E47-A1E8-1A42-9C40-389C0B0D9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TN – Cod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563FBF-1730-E242-82AE-12152CE0ABCC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vide Barbat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897EAB-D82E-C149-9A17-48473166ACEF}"/>
              </a:ext>
            </a:extLst>
          </p:cNvPr>
          <p:cNvSpPr txBox="1"/>
          <p:nvPr/>
        </p:nvSpPr>
        <p:spPr>
          <a:xfrm>
            <a:off x="705099" y="1546471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E7425-8866-B54F-963E-30C7018A43A8}"/>
              </a:ext>
            </a:extLst>
          </p:cNvPr>
          <p:cNvSpPr txBox="1"/>
          <p:nvPr/>
        </p:nvSpPr>
        <p:spPr>
          <a:xfrm>
            <a:off x="711202" y="2190659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5FBB3C-515B-654A-9DBD-E59F2F9CE97B}"/>
              </a:ext>
            </a:extLst>
          </p:cNvPr>
          <p:cNvSpPr txBox="1"/>
          <p:nvPr/>
        </p:nvSpPr>
        <p:spPr>
          <a:xfrm>
            <a:off x="705099" y="2834031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7585040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B9B3AF6-7B67-9E43-BB78-1F710B4F5FA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AW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7955DE-621D-8349-A4DE-BA69483701B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Google Clou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1910A0-A056-8C48-806E-CBB3063E61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Az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05D79B-6978-B947-88CE-F0B01F6248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Digital Ocea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F9319D0-9A85-5E46-B4E2-D87AB5C356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9</a:t>
            </a:fld>
            <a:endParaRPr lang="en-US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500954-7FA5-144A-91C9-F4932EA932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71346A8-97D7-734A-A609-5E1C230799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9700575-BAD5-B344-959F-9B155EDD20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7968B01-3F7F-B04A-A0AE-BA4DF4C7CB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3ADDAB13-C7B7-E145-A314-165E0B398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TN – Cloud Provider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924175-CBD4-8341-B312-8F35FED47917}"/>
              </a:ext>
            </a:extLst>
          </p:cNvPr>
          <p:cNvSpPr txBox="1"/>
          <p:nvPr/>
        </p:nvSpPr>
        <p:spPr>
          <a:xfrm>
            <a:off x="618491" y="6395623"/>
            <a:ext cx="1950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vide Barbat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5AA884-132D-9244-A7B6-8FF2163A997D}"/>
              </a:ext>
            </a:extLst>
          </p:cNvPr>
          <p:cNvSpPr txBox="1"/>
          <p:nvPr/>
        </p:nvSpPr>
        <p:spPr>
          <a:xfrm>
            <a:off x="705099" y="1546471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0522EA-4580-B149-A2B3-82C60737E96D}"/>
              </a:ext>
            </a:extLst>
          </p:cNvPr>
          <p:cNvSpPr txBox="1"/>
          <p:nvPr/>
        </p:nvSpPr>
        <p:spPr>
          <a:xfrm>
            <a:off x="705099" y="2192590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8FBD2A-D9F1-9840-BD7B-D979BA397C02}"/>
              </a:ext>
            </a:extLst>
          </p:cNvPr>
          <p:cNvSpPr txBox="1"/>
          <p:nvPr/>
        </p:nvSpPr>
        <p:spPr>
          <a:xfrm>
            <a:off x="705099" y="2829087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64D81C-F966-CF41-9D95-60965C3F7C57}"/>
              </a:ext>
            </a:extLst>
          </p:cNvPr>
          <p:cNvSpPr txBox="1"/>
          <p:nvPr/>
        </p:nvSpPr>
        <p:spPr>
          <a:xfrm>
            <a:off x="711202" y="3475473"/>
            <a:ext cx="375424" cy="503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70" b="1" dirty="0">
                <a:solidFill>
                  <a:schemeClr val="bg2"/>
                </a:solidFill>
                <a:latin typeface="+mj-lt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841488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heme/theme1.xml><?xml version="1.0" encoding="utf-8"?>
<a:theme xmlns:a="http://schemas.openxmlformats.org/drawingml/2006/main" name="2016_11_15_Cimpress_16-9_v1-5">
  <a:themeElements>
    <a:clrScheme name="Custom 4">
      <a:dk1>
        <a:srgbClr val="1C1C1C"/>
      </a:dk1>
      <a:lt1>
        <a:sysClr val="window" lastClr="FFFFFF"/>
      </a:lt1>
      <a:dk2>
        <a:srgbClr val="262626"/>
      </a:dk2>
      <a:lt2>
        <a:srgbClr val="FFFFFF"/>
      </a:lt2>
      <a:accent1>
        <a:srgbClr val="F0553A"/>
      </a:accent1>
      <a:accent2>
        <a:srgbClr val="3A414D"/>
      </a:accent2>
      <a:accent3>
        <a:srgbClr val="677271"/>
      </a:accent3>
      <a:accent4>
        <a:srgbClr val="9BA497"/>
      </a:accent4>
      <a:accent5>
        <a:srgbClr val="34A1DA"/>
      </a:accent5>
      <a:accent6>
        <a:srgbClr val="C3D500"/>
      </a:accent6>
      <a:hlink>
        <a:srgbClr val="F0553A"/>
      </a:hlink>
      <a:folHlink>
        <a:srgbClr val="76C14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2E26005D-0FE5-1F49-BC37-E738150A7217}" vid="{1904C374-CAFA-C142-9345-ED6A178926C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6_11_15_Cimpress_16-9_v1-5</Template>
  <TotalTime>145</TotalTime>
  <Words>243</Words>
  <Application>Microsoft Macintosh PowerPoint</Application>
  <PresentationFormat>Custom</PresentationFormat>
  <Paragraphs>107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Lucida Grande</vt:lpstr>
      <vt:lpstr>Times New Roman</vt:lpstr>
      <vt:lpstr>2016_11_15_Cimpress_16-9_v1-5</vt:lpstr>
      <vt:lpstr>Working on a zero trust network company</vt:lpstr>
      <vt:lpstr>ZeroTrust Network Model</vt:lpstr>
      <vt:lpstr>ZeroTrust Network Model</vt:lpstr>
      <vt:lpstr>ZTN – Authentication</vt:lpstr>
      <vt:lpstr>ZTN – Communication</vt:lpstr>
      <vt:lpstr>ZTN – Ticketing &amp; Work Management</vt:lpstr>
      <vt:lpstr>ZTN – Documentation</vt:lpstr>
      <vt:lpstr>ZTN – Code</vt:lpstr>
      <vt:lpstr>ZTN – Cloud Providers</vt:lpstr>
      <vt:lpstr>ZTN – Team Management</vt:lpstr>
    </vt:vector>
  </TitlesOfParts>
  <Company/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ing on a zerotrust network company</dc:title>
  <dc:creator>Davide Barbato</dc:creator>
  <cp:lastModifiedBy>Davide Barbato</cp:lastModifiedBy>
  <cp:revision>61</cp:revision>
  <dcterms:created xsi:type="dcterms:W3CDTF">2018-04-15T09:59:24Z</dcterms:created>
  <dcterms:modified xsi:type="dcterms:W3CDTF">2018-04-18T15:40:31Z</dcterms:modified>
</cp:coreProperties>
</file>